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4.xml" ContentType="application/vnd.openxmlformats-officedocument.theme+xml"/>
  <Override PartName="/ppt/tags/tag62.xml" ContentType="application/vnd.openxmlformats-officedocument.presentationml.tags+xml"/>
  <Override PartName="/ppt/notesSlides/notesSlide1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2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94" r:id="rId4"/>
    <p:sldMasterId id="2147483805" r:id="rId5"/>
    <p:sldMasterId id="2147483816" r:id="rId6"/>
  </p:sldMasterIdLst>
  <p:notesMasterIdLst>
    <p:notesMasterId r:id="rId17"/>
  </p:notesMasterIdLst>
  <p:sldIdLst>
    <p:sldId id="2147348354" r:id="rId7"/>
    <p:sldId id="2147348363" r:id="rId8"/>
    <p:sldId id="2147348368" r:id="rId9"/>
    <p:sldId id="2147348364" r:id="rId10"/>
    <p:sldId id="2147348369" r:id="rId11"/>
    <p:sldId id="12594" r:id="rId12"/>
    <p:sldId id="2147348366" r:id="rId13"/>
    <p:sldId id="2147348362" r:id="rId14"/>
    <p:sldId id="2147348365" r:id="rId15"/>
    <p:sldId id="2147348367" r:id="rId16"/>
  </p:sldIdLst>
  <p:sldSz cx="13411200" cy="7543800"/>
  <p:notesSz cx="6894513" cy="9180513"/>
  <p:custDataLst>
    <p:tags r:id="rId18"/>
  </p:custDataLst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rgbClr val="000000"/>
        </a:solidFill>
        <a:latin typeface="Arial" charset="0"/>
        <a:ea typeface="+mn-ea"/>
        <a:cs typeface="Arial" charset="0"/>
      </a:defRPr>
    </a:lvl1pPr>
    <a:lvl2pPr marL="456790" algn="l" rtl="0" eaLnBrk="0" fontAlgn="base" hangingPunct="0">
      <a:spcBef>
        <a:spcPct val="0"/>
      </a:spcBef>
      <a:spcAft>
        <a:spcPct val="0"/>
      </a:spcAft>
      <a:defRPr kern="1200">
        <a:solidFill>
          <a:srgbClr val="000000"/>
        </a:solidFill>
        <a:latin typeface="Arial" charset="0"/>
        <a:ea typeface="+mn-ea"/>
        <a:cs typeface="Arial" charset="0"/>
      </a:defRPr>
    </a:lvl2pPr>
    <a:lvl3pPr marL="913579" algn="l" rtl="0" eaLnBrk="0" fontAlgn="base" hangingPunct="0">
      <a:spcBef>
        <a:spcPct val="0"/>
      </a:spcBef>
      <a:spcAft>
        <a:spcPct val="0"/>
      </a:spcAft>
      <a:defRPr kern="1200">
        <a:solidFill>
          <a:srgbClr val="000000"/>
        </a:solidFill>
        <a:latin typeface="Arial" charset="0"/>
        <a:ea typeface="+mn-ea"/>
        <a:cs typeface="Arial" charset="0"/>
      </a:defRPr>
    </a:lvl3pPr>
    <a:lvl4pPr marL="1370364" algn="l" rtl="0" eaLnBrk="0" fontAlgn="base" hangingPunct="0">
      <a:spcBef>
        <a:spcPct val="0"/>
      </a:spcBef>
      <a:spcAft>
        <a:spcPct val="0"/>
      </a:spcAft>
      <a:defRPr kern="1200">
        <a:solidFill>
          <a:srgbClr val="000000"/>
        </a:solidFill>
        <a:latin typeface="Arial" charset="0"/>
        <a:ea typeface="+mn-ea"/>
        <a:cs typeface="Arial" charset="0"/>
      </a:defRPr>
    </a:lvl4pPr>
    <a:lvl5pPr marL="1827156" algn="l" rtl="0" eaLnBrk="0" fontAlgn="base" hangingPunct="0">
      <a:spcBef>
        <a:spcPct val="0"/>
      </a:spcBef>
      <a:spcAft>
        <a:spcPct val="0"/>
      </a:spcAft>
      <a:defRPr kern="1200">
        <a:solidFill>
          <a:srgbClr val="000000"/>
        </a:solidFill>
        <a:latin typeface="Arial" charset="0"/>
        <a:ea typeface="+mn-ea"/>
        <a:cs typeface="Arial" charset="0"/>
      </a:defRPr>
    </a:lvl5pPr>
    <a:lvl6pPr marL="2283944" algn="l" defTabSz="913579" rtl="0" eaLnBrk="1" latinLnBrk="0" hangingPunct="1">
      <a:defRPr kern="1200">
        <a:solidFill>
          <a:srgbClr val="000000"/>
        </a:solidFill>
        <a:latin typeface="Arial" charset="0"/>
        <a:ea typeface="+mn-ea"/>
        <a:cs typeface="Arial" charset="0"/>
      </a:defRPr>
    </a:lvl6pPr>
    <a:lvl7pPr marL="2740731" algn="l" defTabSz="913579" rtl="0" eaLnBrk="1" latinLnBrk="0" hangingPunct="1">
      <a:defRPr kern="1200">
        <a:solidFill>
          <a:srgbClr val="000000"/>
        </a:solidFill>
        <a:latin typeface="Arial" charset="0"/>
        <a:ea typeface="+mn-ea"/>
        <a:cs typeface="Arial" charset="0"/>
      </a:defRPr>
    </a:lvl7pPr>
    <a:lvl8pPr marL="3197521" algn="l" defTabSz="913579" rtl="0" eaLnBrk="1" latinLnBrk="0" hangingPunct="1">
      <a:defRPr kern="1200">
        <a:solidFill>
          <a:srgbClr val="000000"/>
        </a:solidFill>
        <a:latin typeface="Arial" charset="0"/>
        <a:ea typeface="+mn-ea"/>
        <a:cs typeface="Arial" charset="0"/>
      </a:defRPr>
    </a:lvl8pPr>
    <a:lvl9pPr marL="3654310" algn="l" defTabSz="913579" rtl="0" eaLnBrk="1" latinLnBrk="0" hangingPunct="1">
      <a:defRPr kern="1200">
        <a:solidFill>
          <a:srgbClr val="000000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B3A4792D-F57E-4964-9C95-911880FA9272}">
          <p14:sldIdLst>
            <p14:sldId id="2147348354"/>
            <p14:sldId id="2147348363"/>
            <p14:sldId id="2147348368"/>
            <p14:sldId id="2147348364"/>
            <p14:sldId id="2147348369"/>
            <p14:sldId id="12594"/>
            <p14:sldId id="2147348366"/>
            <p14:sldId id="2147348362"/>
            <p14:sldId id="2147348365"/>
            <p14:sldId id="2147348367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4272" userDrawn="1">
          <p15:clr>
            <a:srgbClr val="A4A3A4"/>
          </p15:clr>
        </p15:guide>
        <p15:guide id="4" pos="263" userDrawn="1">
          <p15:clr>
            <a:srgbClr val="A4A3A4"/>
          </p15:clr>
        </p15:guide>
        <p15:guide id="5" pos="81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29">
          <p15:clr>
            <a:srgbClr val="A4A3A4"/>
          </p15:clr>
        </p15:guide>
        <p15:guide id="2" pos="2101">
          <p15:clr>
            <a:srgbClr val="A4A3A4"/>
          </p15:clr>
        </p15:guide>
        <p15:guide id="3" orient="horz" pos="2892">
          <p15:clr>
            <a:srgbClr val="A4A3A4"/>
          </p15:clr>
        </p15:guide>
        <p15:guide id="4" pos="2172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A40522C-180E-7AB6-9D79-4917CD8C0CAE}" name="natalienvalerry.dpoandco" initials="na" userId="S::natalienvalerry.dpoandco_gmail.com#ext#@dpoandco.onmicrosoft.com::509adffa-6f74-4d8a-9ecc-08cf1609914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3379"/>
    <a:srgbClr val="E84E0E"/>
    <a:srgbClr val="D8DCE8"/>
    <a:srgbClr val="D3DDD8"/>
    <a:srgbClr val="9EA8C6"/>
    <a:srgbClr val="003288"/>
    <a:srgbClr val="DE6217"/>
    <a:srgbClr val="E45507"/>
    <a:srgbClr val="1A3E7C"/>
    <a:srgbClr val="4E78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5" d="100"/>
          <a:sy n="95" d="100"/>
        </p:scale>
        <p:origin x="792" y="96"/>
      </p:cViewPr>
      <p:guideLst>
        <p:guide orient="horz" pos="4272"/>
        <p:guide pos="263"/>
        <p:guide pos="81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29"/>
        <p:guide pos="2101"/>
        <p:guide orient="horz" pos="2892"/>
        <p:guide pos="217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microsoft.com/office/2018/10/relationships/authors" Target="authors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7675" cy="460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5250" y="0"/>
            <a:ext cx="2987675" cy="460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3680B8-B3D5-461A-BF18-D740CA067F40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93738" y="1147763"/>
            <a:ext cx="5507037" cy="3098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975" y="4418013"/>
            <a:ext cx="5516563" cy="36147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20138"/>
            <a:ext cx="2987675" cy="460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5250" y="8720138"/>
            <a:ext cx="2987675" cy="460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B13B27-4850-4BEF-9C47-870C6BA0D4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805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D62AAF-AE2F-3AAF-21CF-7C1F705A6B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0868983-7F8A-A386-BA8D-655B002634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93738" y="1147763"/>
            <a:ext cx="5507037" cy="30988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0B2CCED-B632-8315-B863-CF32E6263C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7930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50543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11e1fa12108_0_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11e1fa12108_0_2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411272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6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AA2BE59E-5610-439B-A32D-800A95C492B5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0" y="0"/>
            <a:ext cx="16933" cy="12700"/>
          </a:xfrm>
          <a:prstGeom prst="octagon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699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777CCA-F46F-4B0E-A849-E144825526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9705936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2" imgH="530" progId="TCLayout.ActiveDocument.1">
                  <p:embed/>
                </p:oleObj>
              </mc:Choice>
              <mc:Fallback>
                <p:oleObj name="think-cell Slide" r:id="rId5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777CCA-F46F-4B0E-A849-E144825526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73AF46-0C11-47E0-A655-F06439305F0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211667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93732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2569642" y="3970338"/>
            <a:ext cx="8274049" cy="296862"/>
          </a:xfrm>
          <a:prstGeom prst="rect">
            <a:avLst/>
          </a:prstGeom>
        </p:spPr>
        <p:txBody>
          <a:bodyPr anchorCtr="0"/>
          <a:lstStyle>
            <a:lvl1pPr marL="0" indent="0" algn="ctr">
              <a:buFont typeface="Wingdings" pitchFamily="2" charset="2"/>
              <a:buNone/>
              <a:defRPr sz="2000">
                <a:solidFill>
                  <a:srgbClr val="87231D"/>
                </a:solidFill>
              </a:defRPr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1993733" name="Rectangle 5"/>
          <p:cNvSpPr>
            <a:spLocks noGrp="1" noChangeArrowheads="1"/>
          </p:cNvSpPr>
          <p:nvPr>
            <p:ph type="ctrTitle"/>
          </p:nvPr>
        </p:nvSpPr>
        <p:spPr>
          <a:xfrm>
            <a:off x="2569642" y="3527436"/>
            <a:ext cx="8274049" cy="295275"/>
          </a:xfrm>
        </p:spPr>
        <p:txBody>
          <a:bodyPr vert="horz" bIns="0" anchor="ctr"/>
          <a:lstStyle>
            <a:lvl1pPr>
              <a:defRPr>
                <a:solidFill>
                  <a:srgbClr val="87231D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1993734" name="Text Box 6"/>
          <p:cNvSpPr txBox="1">
            <a:spLocks noChangeArrowheads="1"/>
          </p:cNvSpPr>
          <p:nvPr/>
        </p:nvSpPr>
        <p:spPr bwMode="auto">
          <a:xfrm>
            <a:off x="2760139" y="812800"/>
            <a:ext cx="461548" cy="36929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228510" tIns="45702" rIns="228510" bIns="45702">
            <a:spAutoFit/>
          </a:bodyPr>
          <a:lstStyle/>
          <a:p>
            <a:pPr algn="l"/>
            <a:endParaRPr lang="en-US" b="0"/>
          </a:p>
        </p:txBody>
      </p:sp>
      <p:sp>
        <p:nvSpPr>
          <p:cNvPr id="1993735" name="Text Box 7"/>
          <p:cNvSpPr txBox="1">
            <a:spLocks noChangeArrowheads="1"/>
          </p:cNvSpPr>
          <p:nvPr/>
        </p:nvSpPr>
        <p:spPr bwMode="gray">
          <a:xfrm>
            <a:off x="8568267" y="7133972"/>
            <a:ext cx="3947584" cy="19578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35985" tIns="35985" rIns="35985" bIns="35985" anchor="ctr">
            <a:spAutoFit/>
          </a:bodyPr>
          <a:lstStyle/>
          <a:p>
            <a:pPr algn="r">
              <a:spcBef>
                <a:spcPct val="30000"/>
              </a:spcBef>
            </a:pPr>
            <a:endParaRPr lang="en-GB" sz="8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393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76" userDrawn="1">
          <p15:clr>
            <a:srgbClr val="FBAE40"/>
          </p15:clr>
        </p15:guide>
        <p15:guide id="2" pos="422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2 b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1328540"/>
              </p:ext>
            </p:extLst>
          </p:nvPr>
        </p:nvGraphicFramePr>
        <p:xfrm>
          <a:off x="2123" y="160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3" imgH="394" progId="TCLayout.ActiveDocument.1">
                  <p:embed/>
                </p:oleObj>
              </mc:Choice>
              <mc:Fallback>
                <p:oleObj name="think-cell Slide" r:id="rId4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3" y="160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7D7D4E-5ABB-4DD2-8DA8-3299ABCF1B1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211667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9088B64-C121-43AF-8862-B300DC29F8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08519" y="457212"/>
            <a:ext cx="12596284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rgbClr val="87231D"/>
                </a:solidFill>
              </a:defRPr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261FB6-F0BB-4256-BE68-AB590DA47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8921" y="7086603"/>
            <a:ext cx="10972801" cy="39319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90"/>
            </a:lvl1pPr>
            <a:lvl2pPr>
              <a:defRPr sz="880"/>
            </a:lvl2pPr>
            <a:lvl3pPr>
              <a:defRPr sz="880"/>
            </a:lvl3pPr>
            <a:lvl4pPr>
              <a:defRPr sz="880"/>
            </a:lvl4pPr>
            <a:lvl5pPr>
              <a:defRPr sz="880"/>
            </a:lvl5pPr>
          </a:lstStyle>
          <a:p>
            <a:r>
              <a:rPr lang="en-US">
                <a:solidFill>
                  <a:srgbClr val="000000"/>
                </a:solidFill>
                <a:cs typeface="Arial" pitchFamily="34" charset="0"/>
              </a:rPr>
              <a:t>Insert Source Here</a:t>
            </a:r>
          </a:p>
        </p:txBody>
      </p:sp>
      <p:sp>
        <p:nvSpPr>
          <p:cNvPr id="18" name="Line 6">
            <a:extLst>
              <a:ext uri="{FF2B5EF4-FFF2-40B4-BE49-F238E27FC236}">
                <a16:creationId xmlns:a16="http://schemas.microsoft.com/office/drawing/2014/main" id="{99D3EF72-1DAF-4712-837B-68EA0BDED0A5}"/>
              </a:ext>
            </a:extLst>
          </p:cNvPr>
          <p:cNvSpPr>
            <a:spLocks noChangeShapeType="1"/>
          </p:cNvSpPr>
          <p:nvPr/>
        </p:nvSpPr>
        <p:spPr bwMode="auto">
          <a:xfrm>
            <a:off x="394216" y="2234745"/>
            <a:ext cx="609600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/>
          </a:p>
        </p:txBody>
      </p:sp>
      <p:sp>
        <p:nvSpPr>
          <p:cNvPr id="19" name="Line 6">
            <a:extLst>
              <a:ext uri="{FF2B5EF4-FFF2-40B4-BE49-F238E27FC236}">
                <a16:creationId xmlns:a16="http://schemas.microsoft.com/office/drawing/2014/main" id="{171E4A12-8EDC-4AF7-B059-9798A3000232}"/>
              </a:ext>
            </a:extLst>
          </p:cNvPr>
          <p:cNvSpPr>
            <a:spLocks noChangeShapeType="1"/>
          </p:cNvSpPr>
          <p:nvPr/>
        </p:nvSpPr>
        <p:spPr bwMode="auto">
          <a:xfrm>
            <a:off x="6914261" y="2231544"/>
            <a:ext cx="609600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BA73FF-257A-4967-B6F5-B42DFB765D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4216" y="1857968"/>
            <a:ext cx="609600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2" lvl="0" indent="-195572" algn="ctr" eaLnBrk="0" hangingPunct="0">
              <a:lnSpc>
                <a:spcPts val="1650"/>
              </a:lnSpc>
              <a:spcBef>
                <a:spcPts val="330"/>
              </a:spcBef>
              <a:tabLst>
                <a:tab pos="1131525" algn="l"/>
              </a:tabLst>
            </a:pPr>
            <a:r>
              <a:rPr lang="en-US" b="1" i="1">
                <a:solidFill>
                  <a:srgbClr val="003399"/>
                </a:solidFill>
              </a:rPr>
              <a:t>Segment 1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5BBF90F0-4833-4D85-B314-3C60BC1FC6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14261" y="1857968"/>
            <a:ext cx="609600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2" lvl="0" indent="-195572" algn="ctr" eaLnBrk="0" hangingPunct="0">
              <a:lnSpc>
                <a:spcPts val="1650"/>
              </a:lnSpc>
              <a:spcBef>
                <a:spcPts val="330"/>
              </a:spcBef>
              <a:tabLst>
                <a:tab pos="1131525" algn="l"/>
              </a:tabLst>
            </a:pPr>
            <a:r>
              <a:rPr lang="en-US" b="1" i="1">
                <a:solidFill>
                  <a:srgbClr val="003399"/>
                </a:solidFill>
              </a:rPr>
              <a:t>Segment 2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D5540BE0-2A4B-436B-A030-5FDD9BCF65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523" y="987552"/>
            <a:ext cx="12596284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[Insert Insight Here]</a:t>
            </a:r>
          </a:p>
        </p:txBody>
      </p:sp>
      <p:sp>
        <p:nvSpPr>
          <p:cNvPr id="13" name="Line 6">
            <a:extLst>
              <a:ext uri="{FF2B5EF4-FFF2-40B4-BE49-F238E27FC236}">
                <a16:creationId xmlns:a16="http://schemas.microsoft.com/office/drawing/2014/main" id="{D00AA38F-58BA-4A12-8090-A4034EC0F16C}"/>
              </a:ext>
            </a:extLst>
          </p:cNvPr>
          <p:cNvSpPr>
            <a:spLocks noChangeShapeType="1"/>
          </p:cNvSpPr>
          <p:nvPr/>
        </p:nvSpPr>
        <p:spPr bwMode="auto">
          <a:xfrm>
            <a:off x="394217" y="4667018"/>
            <a:ext cx="12610587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AD881AA-469B-407F-9ACB-4F97910B4D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57601" y="4295963"/>
            <a:ext cx="609600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2" lvl="0" indent="-195572" algn="ctr" eaLnBrk="0" hangingPunct="0">
              <a:lnSpc>
                <a:spcPts val="1650"/>
              </a:lnSpc>
              <a:spcBef>
                <a:spcPts val="330"/>
              </a:spcBef>
              <a:tabLst>
                <a:tab pos="1131525" algn="l"/>
              </a:tabLst>
            </a:pPr>
            <a:r>
              <a:rPr lang="en-US" b="1" i="1">
                <a:solidFill>
                  <a:srgbClr val="003399"/>
                </a:solidFill>
              </a:rPr>
              <a:t>Segment 3</a:t>
            </a:r>
          </a:p>
        </p:txBody>
      </p:sp>
    </p:spTree>
    <p:extLst>
      <p:ext uri="{BB962C8B-B14F-4D97-AF65-F5344CB8AC3E}">
        <p14:creationId xmlns:p14="http://schemas.microsoft.com/office/powerpoint/2010/main" val="1625318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55281" y="337184"/>
            <a:ext cx="12363027" cy="369378"/>
          </a:xfrm>
        </p:spPr>
        <p:txBody>
          <a:bodyPr lIns="0" tIns="0" rIns="0" bIns="0"/>
          <a:lstStyle>
            <a:lvl1pPr>
              <a:defRPr sz="1800" b="0" i="0">
                <a:solidFill>
                  <a:srgbClr val="86221D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6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75" b="0" i="0">
                <a:solidFill>
                  <a:srgbClr val="86221D"/>
                </a:solidFill>
                <a:latin typeface="Arial"/>
                <a:cs typeface="Arial"/>
              </a:defRPr>
            </a:lvl1pPr>
          </a:lstStyle>
          <a:p>
            <a:pPr marL="76197">
              <a:spcBef>
                <a:spcPts val="12"/>
              </a:spcBef>
            </a:pPr>
            <a:fld id="{81D60167-4931-47E6-BA6A-407CBD079E47}" type="slidenum">
              <a:rPr lang="en-US" spc="-4" smtClean="0"/>
              <a:pPr marL="76197">
                <a:spcBef>
                  <a:spcPts val="12"/>
                </a:spcBef>
              </a:pPr>
              <a:t>‹#›</a:t>
            </a:fld>
            <a:endParaRPr lang="en-US" spc="-4"/>
          </a:p>
        </p:txBody>
      </p:sp>
    </p:spTree>
    <p:extLst>
      <p:ext uri="{BB962C8B-B14F-4D97-AF65-F5344CB8AC3E}">
        <p14:creationId xmlns:p14="http://schemas.microsoft.com/office/powerpoint/2010/main" val="26979973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Insight w/ Source">
  <p:cSld name="2_Insight w/ Source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75"/>
          <p:cNvSpPr txBox="1">
            <a:spLocks noGrp="1"/>
          </p:cNvSpPr>
          <p:nvPr>
            <p:ph type="title"/>
          </p:nvPr>
        </p:nvSpPr>
        <p:spPr>
          <a:xfrm>
            <a:off x="408518" y="457204"/>
            <a:ext cx="12596283" cy="442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82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75"/>
          <p:cNvSpPr txBox="1">
            <a:spLocks noGrp="1"/>
          </p:cNvSpPr>
          <p:nvPr>
            <p:ph type="body" idx="1"/>
          </p:nvPr>
        </p:nvSpPr>
        <p:spPr>
          <a:xfrm>
            <a:off x="438913" y="7086601"/>
            <a:ext cx="10972800" cy="393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194" marR="0" lvl="0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87" marR="0" lvl="1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8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80" marR="0" lvl="2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8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72" marR="0" lvl="3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8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66" marR="0" lvl="4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8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159" marR="0" lvl="5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352" marR="0" lvl="6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545" marR="0" lvl="7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738" marR="0" lvl="8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9" name="Google Shape;39;p75"/>
          <p:cNvSpPr txBox="1">
            <a:spLocks noGrp="1"/>
          </p:cNvSpPr>
          <p:nvPr>
            <p:ph type="body" idx="2"/>
          </p:nvPr>
        </p:nvSpPr>
        <p:spPr>
          <a:xfrm>
            <a:off x="408522" y="987552"/>
            <a:ext cx="12596282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4" marR="0" lvl="0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87" marR="0" lvl="1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80" marR="0" lvl="2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72" marR="0" lvl="3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66" marR="0" lvl="4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159" marR="0" lvl="5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352" marR="0" lvl="6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545" marR="0" lvl="7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738" marR="0" lvl="8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5" name="Picture 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E14C7C7-3CB8-4AE6-A27D-8D155BD9AE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57889" y="7046977"/>
            <a:ext cx="577088" cy="43281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F2F42361-8BE5-A80D-853B-12600EF62041}"/>
              </a:ext>
            </a:extLst>
          </p:cNvPr>
          <p:cNvGrpSpPr/>
          <p:nvPr userDrawn="1"/>
        </p:nvGrpSpPr>
        <p:grpSpPr>
          <a:xfrm>
            <a:off x="12034194" y="7038757"/>
            <a:ext cx="672075" cy="441037"/>
            <a:chOff x="9025644" y="7038753"/>
            <a:chExt cx="504056" cy="44103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96EED4C2-EABF-C6A0-02D2-B2E8AFC0EA54}"/>
                </a:ext>
              </a:extLst>
            </p:cNvPr>
            <p:cNvSpPr/>
            <p:nvPr userDrawn="1"/>
          </p:nvSpPr>
          <p:spPr>
            <a:xfrm>
              <a:off x="9025644" y="7038753"/>
              <a:ext cx="504056" cy="4410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800"/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7CC9463C-FA4C-5ADB-13B3-CE42AFC14F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9077819" y="7067191"/>
              <a:ext cx="399705" cy="4125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38150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">
  <p:cSld name="3 Column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54"/>
          <p:cNvSpPr txBox="1">
            <a:spLocks noGrp="1"/>
          </p:cNvSpPr>
          <p:nvPr>
            <p:ph type="title"/>
          </p:nvPr>
        </p:nvSpPr>
        <p:spPr>
          <a:xfrm>
            <a:off x="408518" y="457204"/>
            <a:ext cx="12596283" cy="442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82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54"/>
          <p:cNvSpPr txBox="1">
            <a:spLocks noGrp="1"/>
          </p:cNvSpPr>
          <p:nvPr>
            <p:ph type="body" idx="1"/>
          </p:nvPr>
        </p:nvSpPr>
        <p:spPr>
          <a:xfrm>
            <a:off x="438913" y="7086601"/>
            <a:ext cx="10972800" cy="393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194" marR="0" lvl="0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900"/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87" marR="0" lvl="1" indent="-2844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880"/>
              <a:buFont typeface="Arial"/>
              <a:buChar char="•"/>
              <a:defRPr sz="88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80" marR="0" lvl="2" indent="-2844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880"/>
              <a:buFont typeface="Times New Roman"/>
              <a:buChar char="–"/>
              <a:defRPr sz="88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72" marR="0" lvl="3" indent="-2844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880"/>
              <a:buFont typeface="Times New Roman"/>
              <a:buChar char="-"/>
              <a:defRPr sz="88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66" marR="0" lvl="4" indent="-28447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880"/>
              <a:buFont typeface="Arial"/>
              <a:buChar char="•"/>
              <a:defRPr sz="88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159" marR="0" lvl="5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352" marR="0" lvl="6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545" marR="0" lvl="7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738" marR="0" lvl="8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77" name="Google Shape;77;p54"/>
          <p:cNvCxnSpPr/>
          <p:nvPr/>
        </p:nvCxnSpPr>
        <p:spPr>
          <a:xfrm>
            <a:off x="394213" y="2234745"/>
            <a:ext cx="4023360" cy="0"/>
          </a:xfrm>
          <a:prstGeom prst="straightConnector1">
            <a:avLst/>
          </a:prstGeom>
          <a:noFill/>
          <a:ln w="12700" cap="flat" cmpd="sng">
            <a:solidFill>
              <a:srgbClr val="00339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8" name="Google Shape;78;p54"/>
          <p:cNvSpPr txBox="1">
            <a:spLocks noGrp="1"/>
          </p:cNvSpPr>
          <p:nvPr>
            <p:ph type="body" idx="2"/>
          </p:nvPr>
        </p:nvSpPr>
        <p:spPr>
          <a:xfrm>
            <a:off x="394213" y="1863689"/>
            <a:ext cx="402336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525" tIns="48875" rIns="99525" bIns="48875" anchor="b" anchorCtr="0">
            <a:noAutofit/>
          </a:bodyPr>
          <a:lstStyle>
            <a:lvl1pPr marL="457194" marR="0" lvl="0" indent="-22859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800"/>
              <a:buFont typeface="Arial"/>
              <a:buNone/>
              <a:defRPr sz="1800" b="1" i="1" u="none" strike="noStrike" cap="none">
                <a:solidFill>
                  <a:srgbClr val="0033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87" marR="0" lvl="1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80" marR="0" lvl="2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–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72" marR="0" lvl="3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-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66" marR="0" lvl="4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159" marR="0" lvl="5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352" marR="0" lvl="6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545" marR="0" lvl="7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738" marR="0" lvl="8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9" name="Google Shape;79;p54"/>
          <p:cNvSpPr txBox="1">
            <a:spLocks noGrp="1"/>
          </p:cNvSpPr>
          <p:nvPr>
            <p:ph type="body" idx="3"/>
          </p:nvPr>
        </p:nvSpPr>
        <p:spPr>
          <a:xfrm>
            <a:off x="408520" y="987552"/>
            <a:ext cx="12596283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4" marR="0" lvl="0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800"/>
              <a:buFont typeface="Noto Sans Symbols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87" marR="0" lvl="1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80" marR="0" lvl="2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–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72" marR="0" lvl="3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-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66" marR="0" lvl="4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159" marR="0" lvl="5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352" marR="0" lvl="6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545" marR="0" lvl="7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738" marR="0" lvl="8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80" name="Google Shape;80;p54"/>
          <p:cNvCxnSpPr/>
          <p:nvPr/>
        </p:nvCxnSpPr>
        <p:spPr>
          <a:xfrm>
            <a:off x="8993629" y="2234745"/>
            <a:ext cx="4023360" cy="0"/>
          </a:xfrm>
          <a:prstGeom prst="straightConnector1">
            <a:avLst/>
          </a:prstGeom>
          <a:noFill/>
          <a:ln w="12700" cap="flat" cmpd="sng">
            <a:solidFill>
              <a:srgbClr val="00339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" name="Google Shape;81;p54"/>
          <p:cNvSpPr txBox="1">
            <a:spLocks noGrp="1"/>
          </p:cNvSpPr>
          <p:nvPr>
            <p:ph type="body" idx="4"/>
          </p:nvPr>
        </p:nvSpPr>
        <p:spPr>
          <a:xfrm>
            <a:off x="8993629" y="1863689"/>
            <a:ext cx="402336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525" tIns="48875" rIns="99525" bIns="48875" anchor="b" anchorCtr="0">
            <a:noAutofit/>
          </a:bodyPr>
          <a:lstStyle>
            <a:lvl1pPr marL="457194" marR="0" lvl="0" indent="-22859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800"/>
              <a:buFont typeface="Arial"/>
              <a:buNone/>
              <a:defRPr sz="1800" b="1" i="1" u="none" strike="noStrike" cap="none">
                <a:solidFill>
                  <a:srgbClr val="0033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87" marR="0" lvl="1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80" marR="0" lvl="2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–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72" marR="0" lvl="3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-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66" marR="0" lvl="4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159" marR="0" lvl="5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352" marR="0" lvl="6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545" marR="0" lvl="7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738" marR="0" lvl="8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82" name="Google Shape;82;p54"/>
          <p:cNvCxnSpPr/>
          <p:nvPr/>
        </p:nvCxnSpPr>
        <p:spPr>
          <a:xfrm>
            <a:off x="4693921" y="2234745"/>
            <a:ext cx="4023360" cy="0"/>
          </a:xfrm>
          <a:prstGeom prst="straightConnector1">
            <a:avLst/>
          </a:prstGeom>
          <a:noFill/>
          <a:ln w="12700" cap="flat" cmpd="sng">
            <a:solidFill>
              <a:srgbClr val="00339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" name="Google Shape;83;p54"/>
          <p:cNvSpPr txBox="1">
            <a:spLocks noGrp="1"/>
          </p:cNvSpPr>
          <p:nvPr>
            <p:ph type="body" idx="5"/>
          </p:nvPr>
        </p:nvSpPr>
        <p:spPr>
          <a:xfrm>
            <a:off x="4693921" y="1863689"/>
            <a:ext cx="402336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525" tIns="48875" rIns="99525" bIns="48875" anchor="b" anchorCtr="0">
            <a:noAutofit/>
          </a:bodyPr>
          <a:lstStyle>
            <a:lvl1pPr marL="457194" marR="0" lvl="0" indent="-22859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800"/>
              <a:buFont typeface="Arial"/>
              <a:buNone/>
              <a:defRPr sz="1800" b="1" i="1" u="none" strike="noStrike" cap="none">
                <a:solidFill>
                  <a:srgbClr val="0033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87" marR="0" lvl="1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80" marR="0" lvl="2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–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72" marR="0" lvl="3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-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66" marR="0" lvl="4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159" marR="0" lvl="5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352" marR="0" lvl="6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545" marR="0" lvl="7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738" marR="0" lvl="8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3C26C3B-829B-4F6C-979D-17D9F57473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57889" y="7046977"/>
            <a:ext cx="577088" cy="43281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7E8DCFDB-951A-0890-2E0D-9A068A5B9B99}"/>
              </a:ext>
            </a:extLst>
          </p:cNvPr>
          <p:cNvGrpSpPr/>
          <p:nvPr userDrawn="1"/>
        </p:nvGrpSpPr>
        <p:grpSpPr>
          <a:xfrm>
            <a:off x="12034194" y="7038757"/>
            <a:ext cx="672075" cy="441037"/>
            <a:chOff x="9025644" y="7038753"/>
            <a:chExt cx="504056" cy="44103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80B4A55-2190-E88E-3C5A-DEE4452F1FE3}"/>
                </a:ext>
              </a:extLst>
            </p:cNvPr>
            <p:cNvSpPr/>
            <p:nvPr userDrawn="1"/>
          </p:nvSpPr>
          <p:spPr>
            <a:xfrm>
              <a:off x="9025644" y="7038753"/>
              <a:ext cx="504056" cy="4410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800"/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7448C8E6-0406-3E47-3C63-A40566EF0D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9077819" y="7067191"/>
              <a:ext cx="399705" cy="4125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69815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lumn">
  <p:cSld name="4 Column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55"/>
          <p:cNvSpPr txBox="1">
            <a:spLocks noGrp="1"/>
          </p:cNvSpPr>
          <p:nvPr>
            <p:ph type="title"/>
          </p:nvPr>
        </p:nvSpPr>
        <p:spPr>
          <a:xfrm>
            <a:off x="408518" y="457204"/>
            <a:ext cx="12596283" cy="442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82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55"/>
          <p:cNvSpPr txBox="1">
            <a:spLocks noGrp="1"/>
          </p:cNvSpPr>
          <p:nvPr>
            <p:ph type="body" idx="1"/>
          </p:nvPr>
        </p:nvSpPr>
        <p:spPr>
          <a:xfrm>
            <a:off x="438913" y="7086601"/>
            <a:ext cx="10972800" cy="393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194" marR="0" lvl="0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900"/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87" marR="0" lvl="1" indent="-2844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880"/>
              <a:buFont typeface="Arial"/>
              <a:buChar char="•"/>
              <a:defRPr sz="88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80" marR="0" lvl="2" indent="-2844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880"/>
              <a:buFont typeface="Times New Roman"/>
              <a:buChar char="–"/>
              <a:defRPr sz="88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72" marR="0" lvl="3" indent="-2844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880"/>
              <a:buFont typeface="Times New Roman"/>
              <a:buChar char="-"/>
              <a:defRPr sz="88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66" marR="0" lvl="4" indent="-28447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880"/>
              <a:buFont typeface="Arial"/>
              <a:buChar char="•"/>
              <a:defRPr sz="88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159" marR="0" lvl="5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352" marR="0" lvl="6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545" marR="0" lvl="7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738" marR="0" lvl="8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87" name="Google Shape;87;p55"/>
          <p:cNvCxnSpPr/>
          <p:nvPr/>
        </p:nvCxnSpPr>
        <p:spPr>
          <a:xfrm>
            <a:off x="401126" y="2235252"/>
            <a:ext cx="2926080" cy="0"/>
          </a:xfrm>
          <a:prstGeom prst="straightConnector1">
            <a:avLst/>
          </a:prstGeom>
          <a:noFill/>
          <a:ln w="12700" cap="flat" cmpd="sng">
            <a:solidFill>
              <a:srgbClr val="00339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" name="Google Shape;88;p55"/>
          <p:cNvSpPr txBox="1">
            <a:spLocks noGrp="1"/>
          </p:cNvSpPr>
          <p:nvPr>
            <p:ph type="body" idx="2"/>
          </p:nvPr>
        </p:nvSpPr>
        <p:spPr>
          <a:xfrm>
            <a:off x="401126" y="1863689"/>
            <a:ext cx="292608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525" tIns="48875" rIns="99525" bIns="48875" anchor="b" anchorCtr="0">
            <a:noAutofit/>
          </a:bodyPr>
          <a:lstStyle>
            <a:lvl1pPr marL="457194" marR="0" lvl="0" indent="-22859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800"/>
              <a:buFont typeface="Arial"/>
              <a:buNone/>
              <a:defRPr sz="1800" b="1" i="1" u="none" strike="noStrike" cap="none">
                <a:solidFill>
                  <a:srgbClr val="0033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87" marR="0" lvl="1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80" marR="0" lvl="2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–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72" marR="0" lvl="3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-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66" marR="0" lvl="4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159" marR="0" lvl="5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352" marR="0" lvl="6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545" marR="0" lvl="7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738" marR="0" lvl="8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9" name="Google Shape;89;p55"/>
          <p:cNvSpPr txBox="1">
            <a:spLocks noGrp="1"/>
          </p:cNvSpPr>
          <p:nvPr>
            <p:ph type="body" idx="3"/>
          </p:nvPr>
        </p:nvSpPr>
        <p:spPr>
          <a:xfrm>
            <a:off x="408520" y="987552"/>
            <a:ext cx="12596283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4" marR="0" lvl="0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800"/>
              <a:buFont typeface="Noto Sans Symbols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87" marR="0" lvl="1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80" marR="0" lvl="2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–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72" marR="0" lvl="3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-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66" marR="0" lvl="4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159" marR="0" lvl="5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352" marR="0" lvl="6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545" marR="0" lvl="7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738" marR="0" lvl="8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90" name="Google Shape;90;p55"/>
          <p:cNvCxnSpPr/>
          <p:nvPr/>
        </p:nvCxnSpPr>
        <p:spPr>
          <a:xfrm>
            <a:off x="10078721" y="2235252"/>
            <a:ext cx="2926080" cy="0"/>
          </a:xfrm>
          <a:prstGeom prst="straightConnector1">
            <a:avLst/>
          </a:prstGeom>
          <a:noFill/>
          <a:ln w="12700" cap="flat" cmpd="sng">
            <a:solidFill>
              <a:srgbClr val="00339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" name="Google Shape;91;p55"/>
          <p:cNvSpPr txBox="1">
            <a:spLocks noGrp="1"/>
          </p:cNvSpPr>
          <p:nvPr>
            <p:ph type="body" idx="4"/>
          </p:nvPr>
        </p:nvSpPr>
        <p:spPr>
          <a:xfrm>
            <a:off x="10078721" y="1863689"/>
            <a:ext cx="292608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525" tIns="48875" rIns="99525" bIns="48875" anchor="b" anchorCtr="0">
            <a:noAutofit/>
          </a:bodyPr>
          <a:lstStyle>
            <a:lvl1pPr marL="457194" marR="0" lvl="0" indent="-22859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800"/>
              <a:buFont typeface="Arial"/>
              <a:buNone/>
              <a:defRPr sz="1800" b="1" i="1" u="none" strike="noStrike" cap="none">
                <a:solidFill>
                  <a:srgbClr val="0033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87" marR="0" lvl="1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80" marR="0" lvl="2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–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72" marR="0" lvl="3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-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66" marR="0" lvl="4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159" marR="0" lvl="5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352" marR="0" lvl="6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545" marR="0" lvl="7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738" marR="0" lvl="8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2" name="Google Shape;92;p55"/>
          <p:cNvSpPr txBox="1">
            <a:spLocks noGrp="1"/>
          </p:cNvSpPr>
          <p:nvPr>
            <p:ph type="body" idx="5"/>
          </p:nvPr>
        </p:nvSpPr>
        <p:spPr>
          <a:xfrm>
            <a:off x="3617217" y="1863689"/>
            <a:ext cx="292608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525" tIns="48875" rIns="99525" bIns="48875" anchor="b" anchorCtr="0">
            <a:noAutofit/>
          </a:bodyPr>
          <a:lstStyle>
            <a:lvl1pPr marL="457194" marR="0" lvl="0" indent="-22859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800"/>
              <a:buFont typeface="Arial"/>
              <a:buNone/>
              <a:defRPr sz="1800" b="1" i="1" u="none" strike="noStrike" cap="none">
                <a:solidFill>
                  <a:srgbClr val="0033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87" marR="0" lvl="1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80" marR="0" lvl="2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–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72" marR="0" lvl="3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-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66" marR="0" lvl="4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159" marR="0" lvl="5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352" marR="0" lvl="6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545" marR="0" lvl="7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738" marR="0" lvl="8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3" name="Google Shape;93;p55"/>
          <p:cNvSpPr txBox="1">
            <a:spLocks noGrp="1"/>
          </p:cNvSpPr>
          <p:nvPr>
            <p:ph type="body" idx="6"/>
          </p:nvPr>
        </p:nvSpPr>
        <p:spPr>
          <a:xfrm>
            <a:off x="6858288" y="1863689"/>
            <a:ext cx="292608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525" tIns="48875" rIns="99525" bIns="48875" anchor="b" anchorCtr="0">
            <a:noAutofit/>
          </a:bodyPr>
          <a:lstStyle>
            <a:lvl1pPr marL="457194" marR="0" lvl="0" indent="-22859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800"/>
              <a:buFont typeface="Arial"/>
              <a:buNone/>
              <a:defRPr sz="1800" b="1" i="1" u="none" strike="noStrike" cap="none">
                <a:solidFill>
                  <a:srgbClr val="0033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87" marR="0" lvl="1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80" marR="0" lvl="2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–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72" marR="0" lvl="3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-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66" marR="0" lvl="4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159" marR="0" lvl="5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352" marR="0" lvl="6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545" marR="0" lvl="7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738" marR="0" lvl="8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94" name="Google Shape;94;p55"/>
          <p:cNvCxnSpPr/>
          <p:nvPr/>
        </p:nvCxnSpPr>
        <p:spPr>
          <a:xfrm>
            <a:off x="3619462" y="2235252"/>
            <a:ext cx="2926080" cy="0"/>
          </a:xfrm>
          <a:prstGeom prst="straightConnector1">
            <a:avLst/>
          </a:prstGeom>
          <a:noFill/>
          <a:ln w="12700" cap="flat" cmpd="sng">
            <a:solidFill>
              <a:srgbClr val="00339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" name="Google Shape;95;p55"/>
          <p:cNvCxnSpPr/>
          <p:nvPr/>
        </p:nvCxnSpPr>
        <p:spPr>
          <a:xfrm>
            <a:off x="6858288" y="2235252"/>
            <a:ext cx="2926080" cy="0"/>
          </a:xfrm>
          <a:prstGeom prst="straightConnector1">
            <a:avLst/>
          </a:prstGeom>
          <a:noFill/>
          <a:ln w="12700" cap="flat" cmpd="sng">
            <a:solidFill>
              <a:srgbClr val="003399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3" name="Picture 1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6BBC43A-D7DA-49CC-9AF9-AD8FF1FFDB8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57889" y="7046977"/>
            <a:ext cx="577088" cy="43281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DC9785F9-0FBD-C362-B2EC-AE88A6AFAA4D}"/>
              </a:ext>
            </a:extLst>
          </p:cNvPr>
          <p:cNvGrpSpPr/>
          <p:nvPr userDrawn="1"/>
        </p:nvGrpSpPr>
        <p:grpSpPr>
          <a:xfrm>
            <a:off x="12034194" y="7038757"/>
            <a:ext cx="672075" cy="441037"/>
            <a:chOff x="9025644" y="7038753"/>
            <a:chExt cx="504056" cy="44103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5B8D4CB-01DA-50E6-0BA8-5EF638B50BEA}"/>
                </a:ext>
              </a:extLst>
            </p:cNvPr>
            <p:cNvSpPr/>
            <p:nvPr userDrawn="1"/>
          </p:nvSpPr>
          <p:spPr>
            <a:xfrm>
              <a:off x="9025644" y="7038753"/>
              <a:ext cx="504056" cy="4410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800"/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77F5CED3-5529-4492-7262-3D08612489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9077819" y="7067191"/>
              <a:ext cx="399705" cy="4125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671129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ingle Chart">
  <p:cSld name="1_Single Chart"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56"/>
          <p:cNvSpPr txBox="1">
            <a:spLocks noGrp="1"/>
          </p:cNvSpPr>
          <p:nvPr>
            <p:ph type="title"/>
          </p:nvPr>
        </p:nvSpPr>
        <p:spPr>
          <a:xfrm>
            <a:off x="408518" y="457204"/>
            <a:ext cx="12596283" cy="442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82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56"/>
          <p:cNvSpPr txBox="1">
            <a:spLocks noGrp="1"/>
          </p:cNvSpPr>
          <p:nvPr>
            <p:ph type="body" idx="1"/>
          </p:nvPr>
        </p:nvSpPr>
        <p:spPr>
          <a:xfrm>
            <a:off x="438913" y="7086601"/>
            <a:ext cx="10972800" cy="393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194" marR="0" lvl="0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900"/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87" marR="0" lvl="1" indent="-2844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880"/>
              <a:buFont typeface="Arial"/>
              <a:buChar char="•"/>
              <a:defRPr sz="88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80" marR="0" lvl="2" indent="-2844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880"/>
              <a:buFont typeface="Times New Roman"/>
              <a:buChar char="–"/>
              <a:defRPr sz="88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72" marR="0" lvl="3" indent="-2844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880"/>
              <a:buFont typeface="Times New Roman"/>
              <a:buChar char="-"/>
              <a:defRPr sz="88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66" marR="0" lvl="4" indent="-28447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880"/>
              <a:buFont typeface="Arial"/>
              <a:buChar char="•"/>
              <a:defRPr sz="88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159" marR="0" lvl="5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352" marR="0" lvl="6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545" marR="0" lvl="7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738" marR="0" lvl="8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99" name="Google Shape;99;p56"/>
          <p:cNvCxnSpPr/>
          <p:nvPr/>
        </p:nvCxnSpPr>
        <p:spPr>
          <a:xfrm>
            <a:off x="416813" y="1996671"/>
            <a:ext cx="12594336" cy="0"/>
          </a:xfrm>
          <a:prstGeom prst="straightConnector1">
            <a:avLst/>
          </a:prstGeom>
          <a:noFill/>
          <a:ln w="12700" cap="flat" cmpd="sng">
            <a:solidFill>
              <a:srgbClr val="00339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0" name="Google Shape;100;p56"/>
          <p:cNvSpPr txBox="1">
            <a:spLocks noGrp="1"/>
          </p:cNvSpPr>
          <p:nvPr>
            <p:ph type="body" idx="2"/>
          </p:nvPr>
        </p:nvSpPr>
        <p:spPr>
          <a:xfrm>
            <a:off x="416813" y="1719075"/>
            <a:ext cx="1259433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1">
            <a:spAutoFit/>
          </a:bodyPr>
          <a:lstStyle>
            <a:lvl1pPr marL="457194" marR="0" lvl="0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800"/>
              <a:buFont typeface="Noto Sans Symbols"/>
              <a:buNone/>
              <a:defRPr sz="1800" b="1" i="1" u="none" strike="noStrike" cap="none">
                <a:solidFill>
                  <a:srgbClr val="0033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87" marR="0" lvl="1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80" marR="0" lvl="2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–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72" marR="0" lvl="3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-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66" marR="0" lvl="4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159" marR="0" lvl="5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352" marR="0" lvl="6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545" marR="0" lvl="7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738" marR="0" lvl="8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1" name="Google Shape;101;p56"/>
          <p:cNvSpPr txBox="1">
            <a:spLocks noGrp="1"/>
          </p:cNvSpPr>
          <p:nvPr>
            <p:ph type="body" idx="3"/>
          </p:nvPr>
        </p:nvSpPr>
        <p:spPr>
          <a:xfrm>
            <a:off x="408520" y="987552"/>
            <a:ext cx="12596283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4" marR="0" lvl="0" indent="-22859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800"/>
              <a:buFont typeface="Noto Sans Symbols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87" marR="0" lvl="1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80" marR="0" lvl="2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–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72" marR="0" lvl="3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-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66" marR="0" lvl="4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159" marR="0" lvl="5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352" marR="0" lvl="6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545" marR="0" lvl="7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738" marR="0" lvl="8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102" name="Google Shape;102;p56"/>
          <p:cNvCxnSpPr/>
          <p:nvPr/>
        </p:nvCxnSpPr>
        <p:spPr>
          <a:xfrm>
            <a:off x="6908800" y="4663817"/>
            <a:ext cx="6096000" cy="0"/>
          </a:xfrm>
          <a:prstGeom prst="straightConnector1">
            <a:avLst/>
          </a:prstGeom>
          <a:noFill/>
          <a:ln w="12700" cap="flat" cmpd="sng">
            <a:solidFill>
              <a:srgbClr val="00339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3" name="Google Shape;103;p56"/>
          <p:cNvSpPr txBox="1">
            <a:spLocks noGrp="1"/>
          </p:cNvSpPr>
          <p:nvPr>
            <p:ph type="body" idx="4"/>
          </p:nvPr>
        </p:nvSpPr>
        <p:spPr>
          <a:xfrm>
            <a:off x="6908800" y="4295961"/>
            <a:ext cx="60960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525" tIns="48875" rIns="99525" bIns="48875" anchor="b" anchorCtr="0">
            <a:noAutofit/>
          </a:bodyPr>
          <a:lstStyle>
            <a:lvl1pPr marL="457194" marR="0" lvl="0" indent="-22859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800"/>
              <a:buFont typeface="Arial"/>
              <a:buNone/>
              <a:defRPr sz="1800" b="1" i="1" u="none" strike="noStrike" cap="none">
                <a:solidFill>
                  <a:srgbClr val="0033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87" marR="0" lvl="1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80" marR="0" lvl="2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–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72" marR="0" lvl="3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-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66" marR="0" lvl="4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159" marR="0" lvl="5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352" marR="0" lvl="6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545" marR="0" lvl="7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738" marR="0" lvl="8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104" name="Google Shape;104;p56"/>
          <p:cNvCxnSpPr/>
          <p:nvPr/>
        </p:nvCxnSpPr>
        <p:spPr>
          <a:xfrm>
            <a:off x="408517" y="4654326"/>
            <a:ext cx="6096000" cy="0"/>
          </a:xfrm>
          <a:prstGeom prst="straightConnector1">
            <a:avLst/>
          </a:prstGeom>
          <a:noFill/>
          <a:ln w="12700" cap="flat" cmpd="sng">
            <a:solidFill>
              <a:srgbClr val="00339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5" name="Google Shape;105;p56"/>
          <p:cNvSpPr txBox="1">
            <a:spLocks noGrp="1"/>
          </p:cNvSpPr>
          <p:nvPr>
            <p:ph type="body" idx="5"/>
          </p:nvPr>
        </p:nvSpPr>
        <p:spPr>
          <a:xfrm>
            <a:off x="408517" y="4286471"/>
            <a:ext cx="60960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525" tIns="48875" rIns="99525" bIns="48875" anchor="b" anchorCtr="0">
            <a:noAutofit/>
          </a:bodyPr>
          <a:lstStyle>
            <a:lvl1pPr marL="457194" marR="0" lvl="0" indent="-22859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800"/>
              <a:buFont typeface="Arial"/>
              <a:buNone/>
              <a:defRPr sz="1800" b="1" i="1" u="none" strike="noStrike" cap="none">
                <a:solidFill>
                  <a:srgbClr val="0033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87" marR="0" lvl="1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80" marR="0" lvl="2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–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72" marR="0" lvl="3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-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66" marR="0" lvl="4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159" marR="0" lvl="5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352" marR="0" lvl="6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545" marR="0" lvl="7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738" marR="0" lvl="8" indent="-336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574D520-5369-44A5-A062-F110B18BDA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57889" y="7046977"/>
            <a:ext cx="577088" cy="432816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D25E968-0EEF-6D33-CFBD-4CB3F0BEC57E}"/>
              </a:ext>
            </a:extLst>
          </p:cNvPr>
          <p:cNvGrpSpPr/>
          <p:nvPr userDrawn="1"/>
        </p:nvGrpSpPr>
        <p:grpSpPr>
          <a:xfrm>
            <a:off x="12034194" y="7038757"/>
            <a:ext cx="672075" cy="441037"/>
            <a:chOff x="9025644" y="7038753"/>
            <a:chExt cx="504056" cy="44103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17D2487-D5EF-9474-DBC3-DD2D4F473393}"/>
                </a:ext>
              </a:extLst>
            </p:cNvPr>
            <p:cNvSpPr/>
            <p:nvPr userDrawn="1"/>
          </p:nvSpPr>
          <p:spPr>
            <a:xfrm>
              <a:off x="9025644" y="7038753"/>
              <a:ext cx="504056" cy="4410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800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7C5875A-4876-AAD1-9645-3BF591326BB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9077819" y="7067191"/>
              <a:ext cx="399705" cy="4125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246145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HS 1/2 : RHS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3" imgH="394" progId="TCLayout.ActiveDocument.1">
                  <p:embed/>
                </p:oleObj>
              </mc:Choice>
              <mc:Fallback>
                <p:oleObj name="think-cell Slide" r:id="rId4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7D7D4E-5ABB-4DD2-8DA8-3299ABCF1B1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211668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3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9088B64-C121-43AF-8862-B300DC29F8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08518" y="457204"/>
            <a:ext cx="12596283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261FB6-F0BB-4256-BE68-AB590DA47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8913" y="7086601"/>
            <a:ext cx="10972800" cy="39319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00"/>
            </a:lvl1pPr>
            <a:lvl2pPr>
              <a:defRPr sz="880"/>
            </a:lvl2pPr>
            <a:lvl3pPr>
              <a:defRPr sz="880"/>
            </a:lvl3pPr>
            <a:lvl4pPr>
              <a:defRPr sz="880"/>
            </a:lvl4pPr>
            <a:lvl5pPr>
              <a:defRPr sz="880"/>
            </a:lvl5pPr>
          </a:lstStyle>
          <a:p>
            <a:r>
              <a:rPr lang="en-US">
                <a:solidFill>
                  <a:srgbClr val="000000"/>
                </a:solidFill>
                <a:cs typeface="Arial" pitchFamily="34" charset="0"/>
              </a:rPr>
              <a:t>Insert Source Here</a:t>
            </a:r>
          </a:p>
        </p:txBody>
      </p:sp>
      <p:sp>
        <p:nvSpPr>
          <p:cNvPr id="18" name="Line 6">
            <a:extLst>
              <a:ext uri="{FF2B5EF4-FFF2-40B4-BE49-F238E27FC236}">
                <a16:creationId xmlns:a16="http://schemas.microsoft.com/office/drawing/2014/main" id="{99D3EF72-1DAF-4712-837B-68EA0BDED0A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08519" y="2234745"/>
            <a:ext cx="6096000" cy="0"/>
          </a:xfrm>
          <a:prstGeom prst="line">
            <a:avLst/>
          </a:prstGeom>
          <a:noFill/>
          <a:ln w="12700">
            <a:solidFill>
              <a:srgbClr val="003399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/>
          </a:p>
        </p:txBody>
      </p:sp>
      <p:sp>
        <p:nvSpPr>
          <p:cNvPr id="19" name="Line 6">
            <a:extLst>
              <a:ext uri="{FF2B5EF4-FFF2-40B4-BE49-F238E27FC236}">
                <a16:creationId xmlns:a16="http://schemas.microsoft.com/office/drawing/2014/main" id="{171E4A12-8EDC-4AF7-B059-9798A300023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914260" y="2231544"/>
            <a:ext cx="6096000" cy="0"/>
          </a:xfrm>
          <a:prstGeom prst="line">
            <a:avLst/>
          </a:prstGeom>
          <a:noFill/>
          <a:ln w="12700">
            <a:solidFill>
              <a:srgbClr val="003399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BA73FF-257A-4967-B6F5-B42DFB765D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519" y="1863689"/>
            <a:ext cx="609600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003399"/>
                </a:solidFill>
                <a:latin typeface="Arial" charset="0"/>
                <a:cs typeface="Arial" charset="0"/>
              </a:defRPr>
            </a:lvl1pPr>
          </a:lstStyle>
          <a:p>
            <a:pPr marL="195577" lvl="0" indent="-195577" algn="ctr" eaLnBrk="0" hangingPunct="0">
              <a:lnSpc>
                <a:spcPts val="1650"/>
              </a:lnSpc>
              <a:spcBef>
                <a:spcPts val="330"/>
              </a:spcBef>
              <a:tabLst>
                <a:tab pos="1131554" algn="l"/>
              </a:tabLst>
            </a:pPr>
            <a:r>
              <a:rPr lang="en-US" b="1" i="1">
                <a:solidFill>
                  <a:srgbClr val="003399"/>
                </a:solidFill>
              </a:rPr>
              <a:t>Left Hand Side 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5BBF90F0-4833-4D85-B314-3C60BC1FC6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14260" y="1863689"/>
            <a:ext cx="609600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003399"/>
                </a:solidFill>
                <a:latin typeface="Arial" charset="0"/>
                <a:cs typeface="Arial" charset="0"/>
              </a:defRPr>
            </a:lvl1pPr>
          </a:lstStyle>
          <a:p>
            <a:pPr marL="195577" lvl="0" indent="-195577" algn="ctr" eaLnBrk="0" hangingPunct="0">
              <a:lnSpc>
                <a:spcPts val="1650"/>
              </a:lnSpc>
              <a:spcBef>
                <a:spcPts val="330"/>
              </a:spcBef>
              <a:tabLst>
                <a:tab pos="1131554" algn="l"/>
              </a:tabLst>
            </a:pPr>
            <a:r>
              <a:rPr lang="en-US" b="1" i="1">
                <a:solidFill>
                  <a:srgbClr val="003399"/>
                </a:solidFill>
              </a:rPr>
              <a:t>Right Hand Side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D5540BE0-2A4B-436B-A030-5FDD9BCF65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3980" y="987552"/>
            <a:ext cx="12590823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[Insert Insight Here]</a:t>
            </a:r>
          </a:p>
        </p:txBody>
      </p:sp>
    </p:spTree>
    <p:extLst>
      <p:ext uri="{BB962C8B-B14F-4D97-AF65-F5344CB8AC3E}">
        <p14:creationId xmlns:p14="http://schemas.microsoft.com/office/powerpoint/2010/main" val="16145574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4756633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Do not remove" hidden="1">
            <a:extLst>
              <a:ext uri="{FF2B5EF4-FFF2-40B4-BE49-F238E27FC236}">
                <a16:creationId xmlns:a16="http://schemas.microsoft.com/office/drawing/2014/main" id="{4FA099DB-612A-4E78-A3DA-DB84F71398F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6933" cy="12700"/>
          </a:xfrm>
          <a:prstGeom prst="octagon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6993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50153D9-F9F6-4742-BA12-98868A2A80C7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211668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3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9088B64-C121-43AF-8862-B300DC29F8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08518" y="457204"/>
            <a:ext cx="12596283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261FB6-F0BB-4256-BE68-AB590DA47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8913" y="7086601"/>
            <a:ext cx="10972800" cy="39319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00"/>
            </a:lvl1pPr>
            <a:lvl2pPr>
              <a:defRPr sz="880"/>
            </a:lvl2pPr>
            <a:lvl3pPr>
              <a:defRPr sz="880"/>
            </a:lvl3pPr>
            <a:lvl4pPr>
              <a:defRPr sz="880"/>
            </a:lvl4pPr>
            <a:lvl5pPr>
              <a:defRPr sz="880"/>
            </a:lvl5pPr>
          </a:lstStyle>
          <a:p>
            <a:r>
              <a:rPr lang="en-US">
                <a:solidFill>
                  <a:srgbClr val="000000"/>
                </a:solidFill>
                <a:cs typeface="Arial" pitchFamily="34" charset="0"/>
              </a:rPr>
              <a:t>Insert Source Here</a:t>
            </a:r>
          </a:p>
        </p:txBody>
      </p:sp>
      <p:sp>
        <p:nvSpPr>
          <p:cNvPr id="11" name="Line 6">
            <a:extLst>
              <a:ext uri="{FF2B5EF4-FFF2-40B4-BE49-F238E27FC236}">
                <a16:creationId xmlns:a16="http://schemas.microsoft.com/office/drawing/2014/main" id="{F8C5FE95-0595-425A-989D-25A4CD8E2139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16813" y="1996671"/>
            <a:ext cx="12594336" cy="0"/>
          </a:xfrm>
          <a:prstGeom prst="line">
            <a:avLst/>
          </a:prstGeom>
          <a:noFill/>
          <a:ln w="12700">
            <a:solidFill>
              <a:srgbClr val="003399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573ADD-0198-4B86-85F5-9E5C4673F9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6813" y="1719075"/>
            <a:ext cx="12594336" cy="2769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 anchor="b" anchorCtr="1">
            <a:spAutoFit/>
          </a:bodyPr>
          <a:lstStyle>
            <a:lvl1pPr marL="0" indent="0">
              <a:buNone/>
              <a:defRPr lang="en-US" sz="1800" b="1" i="1" kern="1200" dirty="0">
                <a:solidFill>
                  <a:srgbClr val="003399"/>
                </a:solidFill>
                <a:latin typeface="Arial" charset="0"/>
                <a:cs typeface="Arial" charset="0"/>
              </a:defRPr>
            </a:lvl1pPr>
          </a:lstStyle>
          <a:p>
            <a:pPr marL="230185" lvl="0" indent="-230185" algn="ctr" eaLnBrk="0" hangingPunct="0">
              <a:buClr>
                <a:schemeClr val="tx2"/>
              </a:buClr>
            </a:pPr>
            <a:r>
              <a:rPr lang="en-US"/>
              <a:t>Chart Titl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9389C976-4C19-46B4-B8BF-5C61855A14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520" y="987552"/>
            <a:ext cx="12596283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[Insert Insight Here]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82006B5-4414-E795-04B0-9EE2BA356D2E}"/>
              </a:ext>
            </a:extLst>
          </p:cNvPr>
          <p:cNvGrpSpPr/>
          <p:nvPr userDrawn="1"/>
        </p:nvGrpSpPr>
        <p:grpSpPr>
          <a:xfrm>
            <a:off x="12034194" y="7038757"/>
            <a:ext cx="672075" cy="441037"/>
            <a:chOff x="9025644" y="7038753"/>
            <a:chExt cx="504056" cy="44103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13B6FEC-0ED0-5CAC-90BE-D44F6BC0FC71}"/>
                </a:ext>
              </a:extLst>
            </p:cNvPr>
            <p:cNvSpPr/>
            <p:nvPr userDrawn="1"/>
          </p:nvSpPr>
          <p:spPr>
            <a:xfrm>
              <a:off x="9025644" y="7038753"/>
              <a:ext cx="504056" cy="4410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800"/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93F15980-528F-6A5E-519D-B6D515D7569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9077819" y="7067191"/>
              <a:ext cx="399705" cy="4125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29259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76">
          <p15:clr>
            <a:srgbClr val="FBAE40"/>
          </p15:clr>
        </p15:guide>
        <p15:guide id="2" pos="422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nsight w/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6287623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3" imgH="394" progId="TCLayout.ActiveDocument.1">
                  <p:embed/>
                </p:oleObj>
              </mc:Choice>
              <mc:Fallback>
                <p:oleObj name="think-cell Slide" r:id="rId4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7D7D4E-5ABB-4DD2-8DA8-3299ABCF1B1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211668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3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9088B64-C121-43AF-8862-B300DC29F8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08518" y="457204"/>
            <a:ext cx="12596283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261FB6-F0BB-4256-BE68-AB590DA47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8913" y="7086601"/>
            <a:ext cx="10972800" cy="39319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00"/>
            </a:lvl1pPr>
            <a:lvl2pPr>
              <a:defRPr sz="880"/>
            </a:lvl2pPr>
            <a:lvl3pPr>
              <a:defRPr sz="880"/>
            </a:lvl3pPr>
            <a:lvl4pPr>
              <a:defRPr sz="880"/>
            </a:lvl4pPr>
            <a:lvl5pPr>
              <a:defRPr sz="880"/>
            </a:lvl5pPr>
          </a:lstStyle>
          <a:p>
            <a:r>
              <a:rPr lang="en-US">
                <a:solidFill>
                  <a:srgbClr val="000000"/>
                </a:solidFill>
                <a:cs typeface="Arial" pitchFamily="34" charset="0"/>
              </a:rPr>
              <a:t>Insert Source Her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D5540BE0-2A4B-436B-A030-5FDD9BCF65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522" y="987552"/>
            <a:ext cx="12596282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[Insert Insight Here]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5FC301C-F334-9FD2-4DB2-69E29D1E90DE}"/>
              </a:ext>
            </a:extLst>
          </p:cNvPr>
          <p:cNvGrpSpPr/>
          <p:nvPr userDrawn="1"/>
        </p:nvGrpSpPr>
        <p:grpSpPr>
          <a:xfrm>
            <a:off x="12034194" y="7038757"/>
            <a:ext cx="672075" cy="441037"/>
            <a:chOff x="9025644" y="7038753"/>
            <a:chExt cx="504056" cy="44103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AA897A6-440A-45C6-7C47-16FD79564569}"/>
                </a:ext>
              </a:extLst>
            </p:cNvPr>
            <p:cNvSpPr/>
            <p:nvPr userDrawn="1"/>
          </p:nvSpPr>
          <p:spPr>
            <a:xfrm>
              <a:off x="9025644" y="7038753"/>
              <a:ext cx="504056" cy="4410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800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864A663-AD21-F63E-D4D0-A9871448CCF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9077819" y="7067191"/>
              <a:ext cx="399705" cy="4125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03910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76">
          <p15:clr>
            <a:srgbClr val="FBAE40"/>
          </p15:clr>
        </p15:guide>
        <p15:guide id="2" pos="422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sight w/ Source">
  <p:cSld name="Insight w/ Source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879E8267-36BD-036A-8B8E-8031E69B5C5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0" y="0"/>
            <a:ext cx="16933" cy="12700"/>
          </a:xfrm>
          <a:prstGeom prst="octagon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6995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37" name="Google Shape;37;p45"/>
          <p:cNvSpPr txBox="1">
            <a:spLocks noGrp="1"/>
          </p:cNvSpPr>
          <p:nvPr>
            <p:ph type="title"/>
          </p:nvPr>
        </p:nvSpPr>
        <p:spPr>
          <a:xfrm>
            <a:off x="408518" y="457202"/>
            <a:ext cx="12596283" cy="442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82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45"/>
          <p:cNvSpPr txBox="1">
            <a:spLocks noGrp="1"/>
          </p:cNvSpPr>
          <p:nvPr>
            <p:ph type="body" idx="1"/>
          </p:nvPr>
        </p:nvSpPr>
        <p:spPr>
          <a:xfrm>
            <a:off x="438913" y="7086601"/>
            <a:ext cx="10972800" cy="393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5" marR="0" lvl="0" indent="-22860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900"/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9" marR="0" lvl="1" indent="-28448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880"/>
              <a:buFont typeface="Arial"/>
              <a:buChar char="•"/>
              <a:defRPr sz="88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14" marR="0" lvl="2" indent="-28448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880"/>
              <a:buFont typeface="Times New Roman"/>
              <a:buChar char="–"/>
              <a:defRPr sz="88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18" marR="0" lvl="3" indent="-28448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880"/>
              <a:buFont typeface="Times New Roman"/>
              <a:buChar char="-"/>
              <a:defRPr sz="88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23" marR="0" lvl="4" indent="-2844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880"/>
              <a:buFont typeface="Arial"/>
              <a:buChar char="•"/>
              <a:defRPr sz="88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27" marR="0" lvl="5" indent="-33655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32" marR="0" lvl="6" indent="-33655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36" marR="0" lvl="7" indent="-33655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42" marR="0" lvl="8" indent="-33655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9" name="Google Shape;39;p45"/>
          <p:cNvSpPr txBox="1">
            <a:spLocks noGrp="1"/>
          </p:cNvSpPr>
          <p:nvPr>
            <p:ph type="body" idx="2"/>
          </p:nvPr>
        </p:nvSpPr>
        <p:spPr>
          <a:xfrm>
            <a:off x="408520" y="987552"/>
            <a:ext cx="12596283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5" marR="0" lvl="0" indent="-22860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9" marR="0" lvl="1" indent="-33020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14" marR="0" lvl="2" indent="-33020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–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18" marR="0" lvl="3" indent="-33020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-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23" marR="0" lvl="4" indent="-33020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27" marR="0" lvl="5" indent="-33655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32" marR="0" lvl="6" indent="-33655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36" marR="0" lvl="7" indent="-33655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42" marR="0" lvl="8" indent="-33655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331940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>
            <a:extLst>
              <a:ext uri="{FF2B5EF4-FFF2-40B4-BE49-F238E27FC236}">
                <a16:creationId xmlns:a16="http://schemas.microsoft.com/office/drawing/2014/main" id="{DF11281A-4276-4BFD-8E18-0AFCA474CA53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0" y="0"/>
            <a:ext cx="16933" cy="12700"/>
          </a:xfrm>
          <a:prstGeom prst="octagon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699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4055364"/>
              </p:ext>
            </p:extLst>
          </p:nvPr>
        </p:nvGraphicFramePr>
        <p:xfrm>
          <a:off x="2119" y="159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34F894-16CC-4EB9-9FD6-2BE517EE141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211667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9088B64-C121-43AF-8862-B300DC29F8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08517" y="457211"/>
            <a:ext cx="12596283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rgbClr val="273379"/>
                </a:solidFill>
              </a:defRPr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261FB6-F0BB-4256-BE68-AB590DA47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517" y="7086589"/>
            <a:ext cx="10972800" cy="39319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00"/>
            </a:lvl1pPr>
            <a:lvl2pPr>
              <a:defRPr sz="880"/>
            </a:lvl2pPr>
            <a:lvl3pPr>
              <a:defRPr sz="880"/>
            </a:lvl3pPr>
            <a:lvl4pPr>
              <a:defRPr sz="880"/>
            </a:lvl4pPr>
            <a:lvl5pPr>
              <a:defRPr sz="880"/>
            </a:lvl5pPr>
          </a:lstStyle>
          <a:p>
            <a:r>
              <a:rPr lang="en-US">
                <a:solidFill>
                  <a:srgbClr val="000000"/>
                </a:solidFill>
                <a:cs typeface="Arial" pitchFamily="34" charset="0"/>
              </a:rPr>
              <a:t>Insert Source Here</a:t>
            </a:r>
          </a:p>
        </p:txBody>
      </p:sp>
    </p:spTree>
    <p:extLst>
      <p:ext uri="{BB962C8B-B14F-4D97-AF65-F5344CB8AC3E}">
        <p14:creationId xmlns:p14="http://schemas.microsoft.com/office/powerpoint/2010/main" val="29956148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sight w/ Source">
  <p:cSld name="1_Insight w/ Source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879E8267-36BD-036A-8B8E-8031E69B5C5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0" y="0"/>
            <a:ext cx="16933" cy="12700"/>
          </a:xfrm>
          <a:prstGeom prst="octagon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6995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37" name="Google Shape;37;p45"/>
          <p:cNvSpPr txBox="1">
            <a:spLocks noGrp="1"/>
          </p:cNvSpPr>
          <p:nvPr>
            <p:ph type="title"/>
          </p:nvPr>
        </p:nvSpPr>
        <p:spPr>
          <a:xfrm>
            <a:off x="408518" y="457202"/>
            <a:ext cx="12596283" cy="442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82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45"/>
          <p:cNvSpPr txBox="1">
            <a:spLocks noGrp="1"/>
          </p:cNvSpPr>
          <p:nvPr>
            <p:ph type="body" idx="1"/>
          </p:nvPr>
        </p:nvSpPr>
        <p:spPr>
          <a:xfrm>
            <a:off x="438913" y="7086601"/>
            <a:ext cx="10972800" cy="393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5" marR="0" lvl="0" indent="-22860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900"/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9" marR="0" lvl="1" indent="-28448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880"/>
              <a:buFont typeface="Arial"/>
              <a:buChar char="•"/>
              <a:defRPr sz="88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14" marR="0" lvl="2" indent="-28448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880"/>
              <a:buFont typeface="Times New Roman"/>
              <a:buChar char="–"/>
              <a:defRPr sz="88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18" marR="0" lvl="3" indent="-28448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880"/>
              <a:buFont typeface="Times New Roman"/>
              <a:buChar char="-"/>
              <a:defRPr sz="88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23" marR="0" lvl="4" indent="-2844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880"/>
              <a:buFont typeface="Arial"/>
              <a:buChar char="•"/>
              <a:defRPr sz="88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27" marR="0" lvl="5" indent="-33655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32" marR="0" lvl="6" indent="-33655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36" marR="0" lvl="7" indent="-33655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42" marR="0" lvl="8" indent="-33655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9" name="Google Shape;39;p45"/>
          <p:cNvSpPr txBox="1">
            <a:spLocks noGrp="1"/>
          </p:cNvSpPr>
          <p:nvPr>
            <p:ph type="body" idx="2"/>
          </p:nvPr>
        </p:nvSpPr>
        <p:spPr>
          <a:xfrm>
            <a:off x="408520" y="987552"/>
            <a:ext cx="12596283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5" marR="0" lvl="0" indent="-22860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9" marR="0" lvl="1" indent="-33020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14" marR="0" lvl="2" indent="-33020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–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18" marR="0" lvl="3" indent="-33020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Times New Roman"/>
              <a:buChar char="-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23" marR="0" lvl="4" indent="-33020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600"/>
              <a:buFont typeface="Arial"/>
              <a:buChar char="•"/>
              <a:defRPr sz="16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27" marR="0" lvl="5" indent="-33655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32" marR="0" lvl="6" indent="-33655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36" marR="0" lvl="7" indent="-33655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42" marR="0" lvl="8" indent="-33655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ts val="17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963821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AA2BE59E-5610-439B-A32D-800A95C492B5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0" y="0"/>
            <a:ext cx="16933" cy="12700"/>
          </a:xfrm>
          <a:prstGeom prst="octagon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69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777CCA-F46F-4B0E-A849-E144825526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9705936"/>
              </p:ext>
            </p:extLst>
          </p:nvPr>
        </p:nvGraphicFramePr>
        <p:xfrm>
          <a:off x="2121" y="1588"/>
          <a:ext cx="211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2" imgH="530" progId="TCLayout.ActiveDocument.1">
                  <p:embed/>
                </p:oleObj>
              </mc:Choice>
              <mc:Fallback>
                <p:oleObj name="think-cell Slide" r:id="rId5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777CCA-F46F-4B0E-A849-E144825526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1" y="1588"/>
                        <a:ext cx="211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73AF46-0C11-47E0-A655-F06439305F0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211668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93732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2569644" y="3970338"/>
            <a:ext cx="8274049" cy="296863"/>
          </a:xfrm>
          <a:prstGeom prst="rect">
            <a:avLst/>
          </a:prstGeom>
        </p:spPr>
        <p:txBody>
          <a:bodyPr anchorCtr="0"/>
          <a:lstStyle>
            <a:lvl1pPr marL="0" indent="0" algn="ctr">
              <a:buFont typeface="Wingdings" pitchFamily="2" charset="2"/>
              <a:buNone/>
              <a:defRPr sz="2000">
                <a:solidFill>
                  <a:srgbClr val="87231D"/>
                </a:solidFill>
              </a:defRPr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1993733" name="Rectangle 5"/>
          <p:cNvSpPr>
            <a:spLocks noGrp="1" noChangeArrowheads="1"/>
          </p:cNvSpPr>
          <p:nvPr>
            <p:ph type="ctrTitle"/>
          </p:nvPr>
        </p:nvSpPr>
        <p:spPr>
          <a:xfrm>
            <a:off x="2569644" y="3527436"/>
            <a:ext cx="8274049" cy="295275"/>
          </a:xfrm>
        </p:spPr>
        <p:txBody>
          <a:bodyPr vert="horz" bIns="0" anchor="ctr"/>
          <a:lstStyle>
            <a:lvl1pPr>
              <a:defRPr>
                <a:solidFill>
                  <a:srgbClr val="87231D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1993734" name="Text Box 6"/>
          <p:cNvSpPr txBox="1">
            <a:spLocks noChangeArrowheads="1"/>
          </p:cNvSpPr>
          <p:nvPr/>
        </p:nvSpPr>
        <p:spPr bwMode="auto">
          <a:xfrm>
            <a:off x="2760139" y="812800"/>
            <a:ext cx="461548" cy="36929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228510" tIns="45702" rIns="228510" bIns="45702">
            <a:spAutoFit/>
          </a:bodyPr>
          <a:lstStyle/>
          <a:p>
            <a:pPr algn="l"/>
            <a:endParaRPr lang="en-US" sz="1800" b="0"/>
          </a:p>
        </p:txBody>
      </p:sp>
      <p:sp>
        <p:nvSpPr>
          <p:cNvPr id="1993735" name="Text Box 7"/>
          <p:cNvSpPr txBox="1">
            <a:spLocks noChangeArrowheads="1"/>
          </p:cNvSpPr>
          <p:nvPr/>
        </p:nvSpPr>
        <p:spPr bwMode="gray">
          <a:xfrm>
            <a:off x="8568268" y="7133972"/>
            <a:ext cx="3947584" cy="19578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35985" tIns="35985" rIns="35985" bIns="35985" anchor="ctr">
            <a:spAutoFit/>
          </a:bodyPr>
          <a:lstStyle/>
          <a:p>
            <a:pPr algn="r">
              <a:spcBef>
                <a:spcPct val="30000"/>
              </a:spcBef>
            </a:pPr>
            <a:endParaRPr lang="en-GB" sz="8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054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76">
          <p15:clr>
            <a:srgbClr val="FBAE40"/>
          </p15:clr>
        </p15:guide>
        <p15:guide id="2" pos="422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>
            <a:extLst>
              <a:ext uri="{FF2B5EF4-FFF2-40B4-BE49-F238E27FC236}">
                <a16:creationId xmlns:a16="http://schemas.microsoft.com/office/drawing/2014/main" id="{DF11281A-4276-4BFD-8E18-0AFCA474CA53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0" y="0"/>
            <a:ext cx="16933" cy="12700"/>
          </a:xfrm>
          <a:prstGeom prst="octagon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69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4055364"/>
              </p:ext>
            </p:extLst>
          </p:nvPr>
        </p:nvGraphicFramePr>
        <p:xfrm>
          <a:off x="2119" y="160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60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34F894-16CC-4EB9-9FD6-2BE517EE141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211668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9088B64-C121-43AF-8862-B300DC29F8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08518" y="457212"/>
            <a:ext cx="12596283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rgbClr val="273379"/>
                </a:solidFill>
              </a:defRPr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261FB6-F0BB-4256-BE68-AB590DA47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518" y="7086590"/>
            <a:ext cx="10972800" cy="39319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00"/>
            </a:lvl1pPr>
            <a:lvl2pPr>
              <a:defRPr sz="880"/>
            </a:lvl2pPr>
            <a:lvl3pPr>
              <a:defRPr sz="880"/>
            </a:lvl3pPr>
            <a:lvl4pPr>
              <a:defRPr sz="880"/>
            </a:lvl4pPr>
            <a:lvl5pPr>
              <a:defRPr sz="880"/>
            </a:lvl5pPr>
          </a:lstStyle>
          <a:p>
            <a:r>
              <a:rPr lang="en-US">
                <a:solidFill>
                  <a:srgbClr val="000000"/>
                </a:solidFill>
                <a:cs typeface="Arial" pitchFamily="34" charset="0"/>
              </a:rPr>
              <a:t>Insert Source Here</a:t>
            </a:r>
          </a:p>
        </p:txBody>
      </p:sp>
    </p:spTree>
    <p:extLst>
      <p:ext uri="{BB962C8B-B14F-4D97-AF65-F5344CB8AC3E}">
        <p14:creationId xmlns:p14="http://schemas.microsoft.com/office/powerpoint/2010/main" val="8785902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4796491"/>
              </p:ext>
            </p:extLst>
          </p:nvPr>
        </p:nvGraphicFramePr>
        <p:xfrm>
          <a:off x="2119" y="160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3" imgH="394" progId="TCLayout.ActiveDocument.1">
                  <p:embed/>
                </p:oleObj>
              </mc:Choice>
              <mc:Fallback>
                <p:oleObj name="think-cell Slide" r:id="rId4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60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50153D9-F9F6-4742-BA12-98868A2A80C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211668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9088B64-C121-43AF-8862-B300DC29F8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08518" y="457212"/>
            <a:ext cx="12596283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rgbClr val="87231D"/>
                </a:solidFill>
              </a:defRPr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261FB6-F0BB-4256-BE68-AB590DA47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8913" y="7086601"/>
            <a:ext cx="10972800" cy="39319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00"/>
            </a:lvl1pPr>
            <a:lvl2pPr>
              <a:defRPr sz="880"/>
            </a:lvl2pPr>
            <a:lvl3pPr>
              <a:defRPr sz="880"/>
            </a:lvl3pPr>
            <a:lvl4pPr>
              <a:defRPr sz="880"/>
            </a:lvl4pPr>
            <a:lvl5pPr>
              <a:defRPr sz="880"/>
            </a:lvl5pPr>
          </a:lstStyle>
          <a:p>
            <a:r>
              <a:rPr lang="en-US">
                <a:solidFill>
                  <a:srgbClr val="000000"/>
                </a:solidFill>
                <a:cs typeface="Arial" pitchFamily="34" charset="0"/>
              </a:rPr>
              <a:t>Insert Source Here</a:t>
            </a:r>
          </a:p>
        </p:txBody>
      </p:sp>
      <p:sp>
        <p:nvSpPr>
          <p:cNvPr id="11" name="Line 6">
            <a:extLst>
              <a:ext uri="{FF2B5EF4-FFF2-40B4-BE49-F238E27FC236}">
                <a16:creationId xmlns:a16="http://schemas.microsoft.com/office/drawing/2014/main" id="{F8C5FE95-0595-425A-989D-25A4CD8E2139}"/>
              </a:ext>
            </a:extLst>
          </p:cNvPr>
          <p:cNvSpPr>
            <a:spLocks noChangeShapeType="1"/>
          </p:cNvSpPr>
          <p:nvPr/>
        </p:nvSpPr>
        <p:spPr bwMode="auto">
          <a:xfrm>
            <a:off x="416813" y="1996671"/>
            <a:ext cx="12594336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573ADD-0198-4B86-85F5-9E5C4673F9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6813" y="1730711"/>
            <a:ext cx="12594336" cy="2769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 anchor="b" anchorCtr="1">
            <a:spAutoFit/>
          </a:bodyPr>
          <a:lstStyle>
            <a:lvl1pPr marL="0" indent="0">
              <a:buNone/>
              <a:defRPr lang="en-US" sz="1800" b="1" i="1" kern="1200" dirty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230179" lvl="0" indent="-230179" algn="ctr" eaLnBrk="0" hangingPunct="0">
              <a:buClr>
                <a:schemeClr val="tx2"/>
              </a:buClr>
            </a:pPr>
            <a:r>
              <a:rPr lang="en-US"/>
              <a:t>Chart Titl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9389C976-4C19-46B4-B8BF-5C61855A14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520" y="987552"/>
            <a:ext cx="12596283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[Insert Insight Here]</a:t>
            </a:r>
          </a:p>
        </p:txBody>
      </p:sp>
    </p:spTree>
    <p:extLst>
      <p:ext uri="{BB962C8B-B14F-4D97-AF65-F5344CB8AC3E}">
        <p14:creationId xmlns:p14="http://schemas.microsoft.com/office/powerpoint/2010/main" val="37680952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HS 1/2 : RHS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4135740"/>
              </p:ext>
            </p:extLst>
          </p:nvPr>
        </p:nvGraphicFramePr>
        <p:xfrm>
          <a:off x="2119" y="160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3" imgH="394" progId="TCLayout.ActiveDocument.1">
                  <p:embed/>
                </p:oleObj>
              </mc:Choice>
              <mc:Fallback>
                <p:oleObj name="think-cell Slide" r:id="rId4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60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7D7D4E-5ABB-4DD2-8DA8-3299ABCF1B1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211668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9088B64-C121-43AF-8862-B300DC29F8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08518" y="457212"/>
            <a:ext cx="12596283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rgbClr val="87231D"/>
                </a:solidFill>
              </a:defRPr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261FB6-F0BB-4256-BE68-AB590DA47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8913" y="7086601"/>
            <a:ext cx="10972800" cy="39319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00"/>
            </a:lvl1pPr>
            <a:lvl2pPr>
              <a:defRPr sz="880"/>
            </a:lvl2pPr>
            <a:lvl3pPr>
              <a:defRPr sz="880"/>
            </a:lvl3pPr>
            <a:lvl4pPr>
              <a:defRPr sz="880"/>
            </a:lvl4pPr>
            <a:lvl5pPr>
              <a:defRPr sz="880"/>
            </a:lvl5pPr>
          </a:lstStyle>
          <a:p>
            <a:r>
              <a:rPr lang="en-US">
                <a:solidFill>
                  <a:srgbClr val="000000"/>
                </a:solidFill>
                <a:cs typeface="Arial" pitchFamily="34" charset="0"/>
              </a:rPr>
              <a:t>Insert Source Here</a:t>
            </a:r>
          </a:p>
        </p:txBody>
      </p:sp>
      <p:sp>
        <p:nvSpPr>
          <p:cNvPr id="18" name="Line 6">
            <a:extLst>
              <a:ext uri="{FF2B5EF4-FFF2-40B4-BE49-F238E27FC236}">
                <a16:creationId xmlns:a16="http://schemas.microsoft.com/office/drawing/2014/main" id="{99D3EF72-1DAF-4712-837B-68EA0BDED0A5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519" y="2234745"/>
            <a:ext cx="609600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>
              <a:solidFill>
                <a:srgbClr val="87231D"/>
              </a:solidFill>
            </a:endParaRPr>
          </a:p>
        </p:txBody>
      </p:sp>
      <p:sp>
        <p:nvSpPr>
          <p:cNvPr id="19" name="Line 6">
            <a:extLst>
              <a:ext uri="{FF2B5EF4-FFF2-40B4-BE49-F238E27FC236}">
                <a16:creationId xmlns:a16="http://schemas.microsoft.com/office/drawing/2014/main" id="{171E4A12-8EDC-4AF7-B059-9798A3000232}"/>
              </a:ext>
            </a:extLst>
          </p:cNvPr>
          <p:cNvSpPr>
            <a:spLocks noChangeShapeType="1"/>
          </p:cNvSpPr>
          <p:nvPr/>
        </p:nvSpPr>
        <p:spPr bwMode="auto">
          <a:xfrm>
            <a:off x="6914260" y="2231544"/>
            <a:ext cx="609600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>
              <a:solidFill>
                <a:srgbClr val="87231D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BA73FF-257A-4967-B6F5-B42DFB765D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519" y="1857969"/>
            <a:ext cx="6096000" cy="36576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2" lvl="0" indent="-195572" algn="ctr" eaLnBrk="0" hangingPunct="0">
              <a:lnSpc>
                <a:spcPts val="1650"/>
              </a:lnSpc>
              <a:spcBef>
                <a:spcPts val="330"/>
              </a:spcBef>
              <a:tabLst>
                <a:tab pos="1131525" algn="l"/>
              </a:tabLst>
            </a:pPr>
            <a:r>
              <a:rPr lang="en-US" b="1" i="1">
                <a:solidFill>
                  <a:srgbClr val="003399"/>
                </a:solidFill>
              </a:rPr>
              <a:t>Left Hand Side 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5BBF90F0-4833-4D85-B314-3C60BC1FC6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14260" y="1857969"/>
            <a:ext cx="609600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2" lvl="0" indent="-195572" algn="ctr" eaLnBrk="0" hangingPunct="0">
              <a:lnSpc>
                <a:spcPts val="1650"/>
              </a:lnSpc>
              <a:spcBef>
                <a:spcPts val="330"/>
              </a:spcBef>
              <a:tabLst>
                <a:tab pos="1131525" algn="l"/>
              </a:tabLst>
            </a:pPr>
            <a:r>
              <a:rPr lang="en-US" b="1" i="1">
                <a:solidFill>
                  <a:srgbClr val="003399"/>
                </a:solidFill>
              </a:rPr>
              <a:t>Right Hand Side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D5540BE0-2A4B-436B-A030-5FDD9BCF65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3986" y="987552"/>
            <a:ext cx="12590823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[Insert Insight Here]</a:t>
            </a:r>
          </a:p>
        </p:txBody>
      </p:sp>
    </p:spTree>
    <p:extLst>
      <p:ext uri="{BB962C8B-B14F-4D97-AF65-F5344CB8AC3E}">
        <p14:creationId xmlns:p14="http://schemas.microsoft.com/office/powerpoint/2010/main" val="29699520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D5360D41-4177-428C-92C4-35641032A45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0" y="0"/>
            <a:ext cx="16933" cy="12700"/>
          </a:xfrm>
          <a:prstGeom prst="octagon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69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334897"/>
              </p:ext>
            </p:extLst>
          </p:nvPr>
        </p:nvGraphicFramePr>
        <p:xfrm>
          <a:off x="2119" y="160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60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7D7D4E-5ABB-4DD2-8DA8-3299ABCF1B1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211668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9088B64-C121-43AF-8862-B300DC29F8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08518" y="457212"/>
            <a:ext cx="12596283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rgbClr val="87231D"/>
                </a:solidFill>
              </a:defRPr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261FB6-F0BB-4256-BE68-AB590DA47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8913" y="7086601"/>
            <a:ext cx="10972800" cy="39319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00"/>
            </a:lvl1pPr>
            <a:lvl2pPr>
              <a:defRPr sz="880"/>
            </a:lvl2pPr>
            <a:lvl3pPr>
              <a:defRPr sz="880"/>
            </a:lvl3pPr>
            <a:lvl4pPr>
              <a:defRPr sz="880"/>
            </a:lvl4pPr>
            <a:lvl5pPr>
              <a:defRPr sz="880"/>
            </a:lvl5pPr>
          </a:lstStyle>
          <a:p>
            <a:r>
              <a:rPr lang="en-US">
                <a:solidFill>
                  <a:srgbClr val="000000"/>
                </a:solidFill>
                <a:cs typeface="Arial" pitchFamily="34" charset="0"/>
              </a:rPr>
              <a:t>Insert Source Here</a:t>
            </a:r>
          </a:p>
        </p:txBody>
      </p:sp>
      <p:sp>
        <p:nvSpPr>
          <p:cNvPr id="18" name="Line 6">
            <a:extLst>
              <a:ext uri="{FF2B5EF4-FFF2-40B4-BE49-F238E27FC236}">
                <a16:creationId xmlns:a16="http://schemas.microsoft.com/office/drawing/2014/main" id="{99D3EF72-1DAF-4712-837B-68EA0BDED0A5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519" y="2234745"/>
            <a:ext cx="609600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/>
          </a:p>
        </p:txBody>
      </p:sp>
      <p:sp>
        <p:nvSpPr>
          <p:cNvPr id="19" name="Line 6">
            <a:extLst>
              <a:ext uri="{FF2B5EF4-FFF2-40B4-BE49-F238E27FC236}">
                <a16:creationId xmlns:a16="http://schemas.microsoft.com/office/drawing/2014/main" id="{171E4A12-8EDC-4AF7-B059-9798A3000232}"/>
              </a:ext>
            </a:extLst>
          </p:cNvPr>
          <p:cNvSpPr>
            <a:spLocks noChangeShapeType="1"/>
          </p:cNvSpPr>
          <p:nvPr/>
        </p:nvSpPr>
        <p:spPr bwMode="auto">
          <a:xfrm>
            <a:off x="6908800" y="2231544"/>
            <a:ext cx="609600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BA73FF-257A-4967-B6F5-B42DFB765D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519" y="1873967"/>
            <a:ext cx="609600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2" lvl="0" indent="-195572" algn="ctr" eaLnBrk="0" hangingPunct="0">
              <a:lnSpc>
                <a:spcPts val="1650"/>
              </a:lnSpc>
              <a:spcBef>
                <a:spcPts val="330"/>
              </a:spcBef>
              <a:tabLst>
                <a:tab pos="1131525" algn="l"/>
              </a:tabLst>
            </a:pPr>
            <a:r>
              <a:rPr lang="en-US" b="1" i="1">
                <a:solidFill>
                  <a:srgbClr val="003399"/>
                </a:solidFill>
              </a:rPr>
              <a:t>Segment 1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5BBF90F0-4833-4D85-B314-3C60BC1FC6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8800" y="1873967"/>
            <a:ext cx="609600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2" lvl="0" indent="-195572" algn="ctr" eaLnBrk="0" hangingPunct="0">
              <a:lnSpc>
                <a:spcPts val="1650"/>
              </a:lnSpc>
              <a:spcBef>
                <a:spcPts val="330"/>
              </a:spcBef>
              <a:tabLst>
                <a:tab pos="1131525" algn="l"/>
              </a:tabLst>
            </a:pPr>
            <a:r>
              <a:rPr lang="en-US" b="1" i="1">
                <a:solidFill>
                  <a:srgbClr val="003399"/>
                </a:solidFill>
              </a:rPr>
              <a:t>Segment 2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D5540BE0-2A4B-436B-A030-5FDD9BCF65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527" y="987552"/>
            <a:ext cx="12596282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[Insert Insight Here]</a:t>
            </a:r>
          </a:p>
        </p:txBody>
      </p:sp>
      <p:sp>
        <p:nvSpPr>
          <p:cNvPr id="13" name="Line 6">
            <a:extLst>
              <a:ext uri="{FF2B5EF4-FFF2-40B4-BE49-F238E27FC236}">
                <a16:creationId xmlns:a16="http://schemas.microsoft.com/office/drawing/2014/main" id="{D00AA38F-58BA-4A12-8090-A4034EC0F16C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519" y="4667018"/>
            <a:ext cx="609600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/>
          </a:p>
        </p:txBody>
      </p:sp>
      <p:sp>
        <p:nvSpPr>
          <p:cNvPr id="14" name="Line 6">
            <a:extLst>
              <a:ext uri="{FF2B5EF4-FFF2-40B4-BE49-F238E27FC236}">
                <a16:creationId xmlns:a16="http://schemas.microsoft.com/office/drawing/2014/main" id="{655752A8-B7AA-4AD6-80B6-DAAF16E95BAB}"/>
              </a:ext>
            </a:extLst>
          </p:cNvPr>
          <p:cNvSpPr>
            <a:spLocks noChangeShapeType="1"/>
          </p:cNvSpPr>
          <p:nvPr/>
        </p:nvSpPr>
        <p:spPr bwMode="auto">
          <a:xfrm>
            <a:off x="6908800" y="4663817"/>
            <a:ext cx="609600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AD881AA-469B-407F-9ACB-4F97910B4D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8519" y="4306241"/>
            <a:ext cx="609600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2" lvl="0" indent="-195572" algn="ctr" eaLnBrk="0" hangingPunct="0">
              <a:lnSpc>
                <a:spcPts val="1650"/>
              </a:lnSpc>
              <a:spcBef>
                <a:spcPts val="330"/>
              </a:spcBef>
              <a:tabLst>
                <a:tab pos="1131525" algn="l"/>
              </a:tabLst>
            </a:pPr>
            <a:r>
              <a:rPr lang="en-US" b="1" i="1">
                <a:solidFill>
                  <a:srgbClr val="003399"/>
                </a:solidFill>
              </a:rPr>
              <a:t>Segment 3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BF4409E-CD6F-40B8-B9D4-7C1873035C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08800" y="4306241"/>
            <a:ext cx="609600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2" lvl="0" indent="-195572" algn="ctr" eaLnBrk="0" hangingPunct="0">
              <a:lnSpc>
                <a:spcPts val="1650"/>
              </a:lnSpc>
              <a:spcBef>
                <a:spcPts val="330"/>
              </a:spcBef>
              <a:tabLst>
                <a:tab pos="1131525" algn="l"/>
              </a:tabLst>
            </a:pPr>
            <a:r>
              <a:rPr lang="en-US" b="1" i="1">
                <a:solidFill>
                  <a:srgbClr val="003399"/>
                </a:solidFill>
              </a:rPr>
              <a:t>Segment 4</a:t>
            </a:r>
          </a:p>
        </p:txBody>
      </p:sp>
    </p:spTree>
    <p:extLst>
      <p:ext uri="{BB962C8B-B14F-4D97-AF65-F5344CB8AC3E}">
        <p14:creationId xmlns:p14="http://schemas.microsoft.com/office/powerpoint/2010/main" val="32276142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9235873"/>
              </p:ext>
            </p:extLst>
          </p:nvPr>
        </p:nvGraphicFramePr>
        <p:xfrm>
          <a:off x="2119" y="160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3" imgH="394" progId="TCLayout.ActiveDocument.1">
                  <p:embed/>
                </p:oleObj>
              </mc:Choice>
              <mc:Fallback>
                <p:oleObj name="think-cell Slide" r:id="rId4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60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7D7D4E-5ABB-4DD2-8DA8-3299ABCF1B1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211668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9088B64-C121-43AF-8862-B300DC29F8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08518" y="457212"/>
            <a:ext cx="12596283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rgbClr val="87231D"/>
                </a:solidFill>
              </a:defRPr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261FB6-F0BB-4256-BE68-AB590DA47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8913" y="7086601"/>
            <a:ext cx="10972800" cy="39319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00"/>
            </a:lvl1pPr>
            <a:lvl2pPr>
              <a:defRPr sz="880"/>
            </a:lvl2pPr>
            <a:lvl3pPr>
              <a:defRPr sz="880"/>
            </a:lvl3pPr>
            <a:lvl4pPr>
              <a:defRPr sz="880"/>
            </a:lvl4pPr>
            <a:lvl5pPr>
              <a:defRPr sz="880"/>
            </a:lvl5pPr>
          </a:lstStyle>
          <a:p>
            <a:r>
              <a:rPr lang="en-US">
                <a:solidFill>
                  <a:srgbClr val="000000"/>
                </a:solidFill>
                <a:cs typeface="Arial" pitchFamily="34" charset="0"/>
              </a:rPr>
              <a:t>Insert Source Here</a:t>
            </a:r>
          </a:p>
        </p:txBody>
      </p:sp>
      <p:sp>
        <p:nvSpPr>
          <p:cNvPr id="18" name="Line 6">
            <a:extLst>
              <a:ext uri="{FF2B5EF4-FFF2-40B4-BE49-F238E27FC236}">
                <a16:creationId xmlns:a16="http://schemas.microsoft.com/office/drawing/2014/main" id="{99D3EF72-1DAF-4712-837B-68EA0BDED0A5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519" y="2234745"/>
            <a:ext cx="402336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>
              <a:solidFill>
                <a:srgbClr val="87231D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BA73FF-257A-4967-B6F5-B42DFB765D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519" y="1863689"/>
            <a:ext cx="402336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2" lvl="0" indent="-195572" algn="ctr" eaLnBrk="0" hangingPunct="0">
              <a:lnSpc>
                <a:spcPts val="1650"/>
              </a:lnSpc>
              <a:spcBef>
                <a:spcPts val="330"/>
              </a:spcBef>
              <a:tabLst>
                <a:tab pos="1131525" algn="l"/>
              </a:tabLst>
            </a:pPr>
            <a:r>
              <a:rPr lang="en-US" b="1" i="1">
                <a:solidFill>
                  <a:srgbClr val="003399"/>
                </a:solidFill>
              </a:rPr>
              <a:t>Column 1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D5540BE0-2A4B-436B-A030-5FDD9BCF65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527" y="987552"/>
            <a:ext cx="12596282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[Insert Insight Here]</a:t>
            </a:r>
          </a:p>
        </p:txBody>
      </p:sp>
      <p:sp>
        <p:nvSpPr>
          <p:cNvPr id="15" name="Line 6">
            <a:extLst>
              <a:ext uri="{FF2B5EF4-FFF2-40B4-BE49-F238E27FC236}">
                <a16:creationId xmlns:a16="http://schemas.microsoft.com/office/drawing/2014/main" id="{87C244B2-2992-4532-AD0F-B51AB490477B}"/>
              </a:ext>
            </a:extLst>
          </p:cNvPr>
          <p:cNvSpPr>
            <a:spLocks noChangeShapeType="1"/>
          </p:cNvSpPr>
          <p:nvPr/>
        </p:nvSpPr>
        <p:spPr bwMode="auto">
          <a:xfrm>
            <a:off x="8981440" y="2234745"/>
            <a:ext cx="402336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>
              <a:solidFill>
                <a:srgbClr val="87231D"/>
              </a:solidFill>
            </a:endParaRP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9A5243D-EEFF-4325-8DF0-38868474D4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81440" y="1863689"/>
            <a:ext cx="402336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2" lvl="0" indent="-195572" algn="ctr" eaLnBrk="0" hangingPunct="0">
              <a:lnSpc>
                <a:spcPts val="1650"/>
              </a:lnSpc>
              <a:spcBef>
                <a:spcPts val="330"/>
              </a:spcBef>
              <a:tabLst>
                <a:tab pos="1131525" algn="l"/>
              </a:tabLst>
            </a:pPr>
            <a:r>
              <a:rPr lang="en-US" b="1" i="1">
                <a:solidFill>
                  <a:srgbClr val="003399"/>
                </a:solidFill>
              </a:rPr>
              <a:t>Column 3 Title</a:t>
            </a:r>
          </a:p>
        </p:txBody>
      </p:sp>
      <p:sp>
        <p:nvSpPr>
          <p:cNvPr id="17" name="Line 6">
            <a:extLst>
              <a:ext uri="{FF2B5EF4-FFF2-40B4-BE49-F238E27FC236}">
                <a16:creationId xmlns:a16="http://schemas.microsoft.com/office/drawing/2014/main" id="{F7E16334-191F-4FD9-8F99-BB85BE2C1523}"/>
              </a:ext>
            </a:extLst>
          </p:cNvPr>
          <p:cNvSpPr>
            <a:spLocks noChangeShapeType="1"/>
          </p:cNvSpPr>
          <p:nvPr/>
        </p:nvSpPr>
        <p:spPr bwMode="auto">
          <a:xfrm>
            <a:off x="4693921" y="2234745"/>
            <a:ext cx="402336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>
              <a:solidFill>
                <a:srgbClr val="87231D"/>
              </a:solidFill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A73391-6FCE-4919-AFF6-C231AFF7A8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94979" y="1863689"/>
            <a:ext cx="402336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2" lvl="0" indent="-195572" algn="ctr" eaLnBrk="0" hangingPunct="0">
              <a:lnSpc>
                <a:spcPts val="1650"/>
              </a:lnSpc>
              <a:spcBef>
                <a:spcPts val="330"/>
              </a:spcBef>
              <a:tabLst>
                <a:tab pos="1131525" algn="l"/>
              </a:tabLst>
            </a:pPr>
            <a:r>
              <a:rPr lang="en-US" b="1" i="1">
                <a:solidFill>
                  <a:srgbClr val="003399"/>
                </a:solidFill>
              </a:rPr>
              <a:t>Column 2 Title</a:t>
            </a:r>
          </a:p>
        </p:txBody>
      </p:sp>
    </p:spTree>
    <p:extLst>
      <p:ext uri="{BB962C8B-B14F-4D97-AF65-F5344CB8AC3E}">
        <p14:creationId xmlns:p14="http://schemas.microsoft.com/office/powerpoint/2010/main" val="15710212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4627844"/>
              </p:ext>
            </p:extLst>
          </p:nvPr>
        </p:nvGraphicFramePr>
        <p:xfrm>
          <a:off x="2119" y="160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3" imgH="394" progId="TCLayout.ActiveDocument.1">
                  <p:embed/>
                </p:oleObj>
              </mc:Choice>
              <mc:Fallback>
                <p:oleObj name="think-cell Slide" r:id="rId4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60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7D7D4E-5ABB-4DD2-8DA8-3299ABCF1B1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211668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9088B64-C121-43AF-8862-B300DC29F8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08518" y="457212"/>
            <a:ext cx="12596283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rgbClr val="87231D"/>
                </a:solidFill>
              </a:defRPr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261FB6-F0BB-4256-BE68-AB590DA47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8913" y="7086601"/>
            <a:ext cx="10972800" cy="39319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00"/>
            </a:lvl1pPr>
            <a:lvl2pPr>
              <a:defRPr sz="880"/>
            </a:lvl2pPr>
            <a:lvl3pPr>
              <a:defRPr sz="880"/>
            </a:lvl3pPr>
            <a:lvl4pPr>
              <a:defRPr sz="880"/>
            </a:lvl4pPr>
            <a:lvl5pPr>
              <a:defRPr sz="880"/>
            </a:lvl5pPr>
          </a:lstStyle>
          <a:p>
            <a:r>
              <a:rPr lang="en-US">
                <a:solidFill>
                  <a:srgbClr val="000000"/>
                </a:solidFill>
                <a:cs typeface="Arial" pitchFamily="34" charset="0"/>
              </a:rPr>
              <a:t>Insert Source Here</a:t>
            </a:r>
          </a:p>
        </p:txBody>
      </p:sp>
      <p:sp>
        <p:nvSpPr>
          <p:cNvPr id="18" name="Line 6">
            <a:extLst>
              <a:ext uri="{FF2B5EF4-FFF2-40B4-BE49-F238E27FC236}">
                <a16:creationId xmlns:a16="http://schemas.microsoft.com/office/drawing/2014/main" id="{99D3EF72-1DAF-4712-837B-68EA0BDED0A5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520" y="2235252"/>
            <a:ext cx="292608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>
              <a:solidFill>
                <a:srgbClr val="87231D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BA73FF-257A-4967-B6F5-B42DFB765D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520" y="1857969"/>
            <a:ext cx="292608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2" lvl="0" indent="-195572" algn="ctr" eaLnBrk="0" hangingPunct="0">
              <a:lnSpc>
                <a:spcPts val="1650"/>
              </a:lnSpc>
              <a:spcBef>
                <a:spcPts val="330"/>
              </a:spcBef>
              <a:tabLst>
                <a:tab pos="1131525" algn="l"/>
              </a:tabLst>
            </a:pPr>
            <a:r>
              <a:rPr lang="en-US" b="1" i="1">
                <a:solidFill>
                  <a:srgbClr val="003399"/>
                </a:solidFill>
              </a:rPr>
              <a:t>Column 1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D5540BE0-2A4B-436B-A030-5FDD9BCF65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527" y="987552"/>
            <a:ext cx="12596282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[Insert Insight Here]</a:t>
            </a:r>
          </a:p>
        </p:txBody>
      </p:sp>
      <p:sp>
        <p:nvSpPr>
          <p:cNvPr id="13" name="Line 6">
            <a:extLst>
              <a:ext uri="{FF2B5EF4-FFF2-40B4-BE49-F238E27FC236}">
                <a16:creationId xmlns:a16="http://schemas.microsoft.com/office/drawing/2014/main" id="{17A50F94-00F9-4E9A-860E-26E5B45D513A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78721" y="2235252"/>
            <a:ext cx="292608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>
              <a:solidFill>
                <a:srgbClr val="87231D"/>
              </a:solidFill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0D3E4BC-F1C7-48A0-BA35-A699BBF977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78721" y="1857969"/>
            <a:ext cx="292608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2" lvl="0" indent="-195572" algn="ctr" eaLnBrk="0" hangingPunct="0">
              <a:lnSpc>
                <a:spcPts val="1650"/>
              </a:lnSpc>
              <a:spcBef>
                <a:spcPts val="330"/>
              </a:spcBef>
              <a:tabLst>
                <a:tab pos="1131525" algn="l"/>
              </a:tabLst>
            </a:pPr>
            <a:r>
              <a:rPr lang="en-US" b="1" i="1">
                <a:solidFill>
                  <a:srgbClr val="003399"/>
                </a:solidFill>
              </a:rPr>
              <a:t>Column 4 Titl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15DBE3C-3411-4F91-9AE2-D09196811F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31919" y="1857969"/>
            <a:ext cx="292608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2" lvl="0" indent="-195572" algn="ctr" eaLnBrk="0" hangingPunct="0">
              <a:lnSpc>
                <a:spcPts val="1650"/>
              </a:lnSpc>
              <a:spcBef>
                <a:spcPts val="330"/>
              </a:spcBef>
              <a:tabLst>
                <a:tab pos="1131525" algn="l"/>
              </a:tabLst>
            </a:pPr>
            <a:r>
              <a:rPr lang="en-US" b="1" i="1">
                <a:solidFill>
                  <a:srgbClr val="003399"/>
                </a:solidFill>
              </a:rPr>
              <a:t>Column 2 Titl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9E362FC5-A49B-4A1B-A9F3-C75F13C7C4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55320" y="1857969"/>
            <a:ext cx="292608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2" lvl="0" indent="-195572" algn="ctr" eaLnBrk="0" hangingPunct="0">
              <a:lnSpc>
                <a:spcPts val="1650"/>
              </a:lnSpc>
              <a:spcBef>
                <a:spcPts val="330"/>
              </a:spcBef>
              <a:tabLst>
                <a:tab pos="1131525" algn="l"/>
              </a:tabLst>
            </a:pPr>
            <a:r>
              <a:rPr lang="en-US" b="1" i="1">
                <a:solidFill>
                  <a:srgbClr val="003399"/>
                </a:solidFill>
              </a:rPr>
              <a:t>Column 3 Title</a:t>
            </a:r>
          </a:p>
        </p:txBody>
      </p:sp>
      <p:sp>
        <p:nvSpPr>
          <p:cNvPr id="26" name="Line 6">
            <a:extLst>
              <a:ext uri="{FF2B5EF4-FFF2-40B4-BE49-F238E27FC236}">
                <a16:creationId xmlns:a16="http://schemas.microsoft.com/office/drawing/2014/main" id="{962DDC9D-D67F-48EC-88E4-98CCCCA8B5EB}"/>
              </a:ext>
            </a:extLst>
          </p:cNvPr>
          <p:cNvSpPr>
            <a:spLocks noChangeShapeType="1"/>
          </p:cNvSpPr>
          <p:nvPr/>
        </p:nvSpPr>
        <p:spPr bwMode="auto">
          <a:xfrm>
            <a:off x="3631920" y="2235252"/>
            <a:ext cx="292608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>
              <a:solidFill>
                <a:srgbClr val="87231D"/>
              </a:solidFill>
            </a:endParaRPr>
          </a:p>
        </p:txBody>
      </p:sp>
      <p:sp>
        <p:nvSpPr>
          <p:cNvPr id="27" name="Line 6">
            <a:extLst>
              <a:ext uri="{FF2B5EF4-FFF2-40B4-BE49-F238E27FC236}">
                <a16:creationId xmlns:a16="http://schemas.microsoft.com/office/drawing/2014/main" id="{7CBA5223-AD0D-44B6-8A76-05709B85225D}"/>
              </a:ext>
            </a:extLst>
          </p:cNvPr>
          <p:cNvSpPr>
            <a:spLocks noChangeShapeType="1"/>
          </p:cNvSpPr>
          <p:nvPr/>
        </p:nvSpPr>
        <p:spPr bwMode="auto">
          <a:xfrm>
            <a:off x="6855322" y="2235252"/>
            <a:ext cx="292608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>
              <a:solidFill>
                <a:srgbClr val="87231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88624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2/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3647930"/>
              </p:ext>
            </p:extLst>
          </p:nvPr>
        </p:nvGraphicFramePr>
        <p:xfrm>
          <a:off x="2119" y="160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3" imgH="394" progId="TCLayout.ActiveDocument.1">
                  <p:embed/>
                </p:oleObj>
              </mc:Choice>
              <mc:Fallback>
                <p:oleObj name="think-cell Slide" r:id="rId4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60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7D7D4E-5ABB-4DD2-8DA8-3299ABCF1B1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211668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9088B64-C121-43AF-8862-B300DC29F8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08518" y="457212"/>
            <a:ext cx="12596283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rgbClr val="87231D"/>
                </a:solidFill>
              </a:defRPr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261FB6-F0BB-4256-BE68-AB590DA47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8913" y="7086601"/>
            <a:ext cx="10972800" cy="39319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00"/>
            </a:lvl1pPr>
            <a:lvl2pPr>
              <a:defRPr sz="880"/>
            </a:lvl2pPr>
            <a:lvl3pPr>
              <a:defRPr sz="880"/>
            </a:lvl3pPr>
            <a:lvl4pPr>
              <a:defRPr sz="880"/>
            </a:lvl4pPr>
            <a:lvl5pPr>
              <a:defRPr sz="880"/>
            </a:lvl5pPr>
          </a:lstStyle>
          <a:p>
            <a:r>
              <a:rPr lang="en-US">
                <a:solidFill>
                  <a:srgbClr val="000000"/>
                </a:solidFill>
                <a:cs typeface="Arial" pitchFamily="34" charset="0"/>
              </a:rPr>
              <a:t>Insert Source Here</a:t>
            </a:r>
          </a:p>
        </p:txBody>
      </p:sp>
      <p:sp>
        <p:nvSpPr>
          <p:cNvPr id="18" name="Line 6">
            <a:extLst>
              <a:ext uri="{FF2B5EF4-FFF2-40B4-BE49-F238E27FC236}">
                <a16:creationId xmlns:a16="http://schemas.microsoft.com/office/drawing/2014/main" id="{99D3EF72-1DAF-4712-837B-68EA0BDED0A5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521" y="2234745"/>
            <a:ext cx="4053755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>
              <a:solidFill>
                <a:srgbClr val="87231D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BA73FF-257A-4967-B6F5-B42DFB765D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94983" y="1857969"/>
            <a:ext cx="830982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2" lvl="0" indent="-195572" algn="ctr" eaLnBrk="0" hangingPunct="0">
              <a:lnSpc>
                <a:spcPts val="1650"/>
              </a:lnSpc>
              <a:spcBef>
                <a:spcPts val="330"/>
              </a:spcBef>
              <a:tabLst>
                <a:tab pos="1131525" algn="l"/>
              </a:tabLst>
            </a:pPr>
            <a:r>
              <a:rPr lang="en-US" b="1" i="1">
                <a:solidFill>
                  <a:srgbClr val="003399"/>
                </a:solidFill>
              </a:rPr>
              <a:t>Column 2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D5540BE0-2A4B-436B-A030-5FDD9BCF65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527" y="987552"/>
            <a:ext cx="12596282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[Insert Insight Here]</a:t>
            </a:r>
          </a:p>
        </p:txBody>
      </p:sp>
      <p:sp>
        <p:nvSpPr>
          <p:cNvPr id="15" name="Line 6">
            <a:extLst>
              <a:ext uri="{FF2B5EF4-FFF2-40B4-BE49-F238E27FC236}">
                <a16:creationId xmlns:a16="http://schemas.microsoft.com/office/drawing/2014/main" id="{87C244B2-2992-4532-AD0F-B51AB490477B}"/>
              </a:ext>
            </a:extLst>
          </p:cNvPr>
          <p:cNvSpPr>
            <a:spLocks noChangeShapeType="1"/>
          </p:cNvSpPr>
          <p:nvPr/>
        </p:nvSpPr>
        <p:spPr bwMode="auto">
          <a:xfrm>
            <a:off x="4694983" y="2234745"/>
            <a:ext cx="830982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>
              <a:solidFill>
                <a:srgbClr val="87231D"/>
              </a:solidFill>
            </a:endParaRP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9A5243D-EEFF-4325-8DF0-38868474D4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8912" y="1857969"/>
            <a:ext cx="402336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2" lvl="0" indent="-195572" algn="ctr" eaLnBrk="0" hangingPunct="0">
              <a:lnSpc>
                <a:spcPts val="1650"/>
              </a:lnSpc>
              <a:spcBef>
                <a:spcPts val="330"/>
              </a:spcBef>
              <a:tabLst>
                <a:tab pos="1131525" algn="l"/>
              </a:tabLst>
            </a:pPr>
            <a:r>
              <a:rPr lang="en-US" b="1" i="1">
                <a:solidFill>
                  <a:srgbClr val="003399"/>
                </a:solidFill>
              </a:rPr>
              <a:t>Column 1 Title</a:t>
            </a:r>
          </a:p>
        </p:txBody>
      </p:sp>
    </p:spTree>
    <p:extLst>
      <p:ext uri="{BB962C8B-B14F-4D97-AF65-F5344CB8AC3E}">
        <p14:creationId xmlns:p14="http://schemas.microsoft.com/office/powerpoint/2010/main" val="21289010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1/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60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3" imgH="394" progId="TCLayout.ActiveDocument.1">
                  <p:embed/>
                </p:oleObj>
              </mc:Choice>
              <mc:Fallback>
                <p:oleObj name="think-cell Slide" r:id="rId4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60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7D7D4E-5ABB-4DD2-8DA8-3299ABCF1B1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211668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9088B64-C121-43AF-8862-B300DC29F8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08518" y="457212"/>
            <a:ext cx="12596283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rgbClr val="87231D"/>
                </a:solidFill>
              </a:defRPr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261FB6-F0BB-4256-BE68-AB590DA47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8913" y="7086601"/>
            <a:ext cx="10972800" cy="39319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00"/>
            </a:lvl1pPr>
            <a:lvl2pPr>
              <a:defRPr sz="880"/>
            </a:lvl2pPr>
            <a:lvl3pPr>
              <a:defRPr sz="880"/>
            </a:lvl3pPr>
            <a:lvl4pPr>
              <a:defRPr sz="880"/>
            </a:lvl4pPr>
            <a:lvl5pPr>
              <a:defRPr sz="880"/>
            </a:lvl5pPr>
          </a:lstStyle>
          <a:p>
            <a:r>
              <a:rPr lang="en-US">
                <a:solidFill>
                  <a:srgbClr val="000000"/>
                </a:solidFill>
                <a:cs typeface="Arial" pitchFamily="34" charset="0"/>
              </a:rPr>
              <a:t>Insert Source Here</a:t>
            </a:r>
          </a:p>
        </p:txBody>
      </p:sp>
      <p:sp>
        <p:nvSpPr>
          <p:cNvPr id="18" name="Line 6">
            <a:extLst>
              <a:ext uri="{FF2B5EF4-FFF2-40B4-BE49-F238E27FC236}">
                <a16:creationId xmlns:a16="http://schemas.microsoft.com/office/drawing/2014/main" id="{99D3EF72-1DAF-4712-837B-68EA0BDED0A5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519" y="2234745"/>
            <a:ext cx="830982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BA73FF-257A-4967-B6F5-B42DFB765D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519" y="1857969"/>
            <a:ext cx="830982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2" lvl="0" indent="-195572" algn="ctr" eaLnBrk="0" hangingPunct="0">
              <a:lnSpc>
                <a:spcPts val="1650"/>
              </a:lnSpc>
              <a:spcBef>
                <a:spcPts val="330"/>
              </a:spcBef>
              <a:tabLst>
                <a:tab pos="1131525" algn="l"/>
              </a:tabLst>
            </a:pPr>
            <a:r>
              <a:rPr lang="en-US" b="1" i="1">
                <a:solidFill>
                  <a:srgbClr val="003399"/>
                </a:solidFill>
              </a:rPr>
              <a:t>Column 1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D5540BE0-2A4B-436B-A030-5FDD9BCF65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527" y="987552"/>
            <a:ext cx="12596282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[Insert Insight Here]</a:t>
            </a:r>
          </a:p>
        </p:txBody>
      </p:sp>
      <p:sp>
        <p:nvSpPr>
          <p:cNvPr id="15" name="Line 6">
            <a:extLst>
              <a:ext uri="{FF2B5EF4-FFF2-40B4-BE49-F238E27FC236}">
                <a16:creationId xmlns:a16="http://schemas.microsoft.com/office/drawing/2014/main" id="{87C244B2-2992-4532-AD0F-B51AB490477B}"/>
              </a:ext>
            </a:extLst>
          </p:cNvPr>
          <p:cNvSpPr>
            <a:spLocks noChangeShapeType="1"/>
          </p:cNvSpPr>
          <p:nvPr/>
        </p:nvSpPr>
        <p:spPr bwMode="auto">
          <a:xfrm>
            <a:off x="8981440" y="2234745"/>
            <a:ext cx="402336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9A5243D-EEFF-4325-8DF0-38868474D4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81440" y="1857969"/>
            <a:ext cx="402336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2" lvl="0" indent="-195572" algn="ctr" eaLnBrk="0" hangingPunct="0">
              <a:lnSpc>
                <a:spcPts val="1650"/>
              </a:lnSpc>
              <a:spcBef>
                <a:spcPts val="330"/>
              </a:spcBef>
              <a:tabLst>
                <a:tab pos="1131525" algn="l"/>
              </a:tabLst>
            </a:pPr>
            <a:r>
              <a:rPr lang="en-US" b="1" i="1">
                <a:solidFill>
                  <a:srgbClr val="003399"/>
                </a:solidFill>
              </a:rPr>
              <a:t>Column 2 Title</a:t>
            </a:r>
          </a:p>
        </p:txBody>
      </p:sp>
    </p:spTree>
    <p:extLst>
      <p:ext uri="{BB962C8B-B14F-4D97-AF65-F5344CB8AC3E}">
        <p14:creationId xmlns:p14="http://schemas.microsoft.com/office/powerpoint/2010/main" val="337613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4796491"/>
              </p:ext>
            </p:extLst>
          </p:nvPr>
        </p:nvGraphicFramePr>
        <p:xfrm>
          <a:off x="2119" y="159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3" imgH="394" progId="TCLayout.ActiveDocument.1">
                  <p:embed/>
                </p:oleObj>
              </mc:Choice>
              <mc:Fallback>
                <p:oleObj name="think-cell Slide" r:id="rId4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50153D9-F9F6-4742-BA12-98868A2A80C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211667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9088B64-C121-43AF-8862-B300DC29F8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08517" y="457211"/>
            <a:ext cx="12596283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rgbClr val="87231D"/>
                </a:solidFill>
              </a:defRPr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261FB6-F0BB-4256-BE68-AB590DA47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8912" y="7086600"/>
            <a:ext cx="10972800" cy="39319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00"/>
            </a:lvl1pPr>
            <a:lvl2pPr>
              <a:defRPr sz="880"/>
            </a:lvl2pPr>
            <a:lvl3pPr>
              <a:defRPr sz="880"/>
            </a:lvl3pPr>
            <a:lvl4pPr>
              <a:defRPr sz="880"/>
            </a:lvl4pPr>
            <a:lvl5pPr>
              <a:defRPr sz="880"/>
            </a:lvl5pPr>
          </a:lstStyle>
          <a:p>
            <a:r>
              <a:rPr lang="en-US">
                <a:solidFill>
                  <a:srgbClr val="000000"/>
                </a:solidFill>
                <a:cs typeface="Arial" pitchFamily="34" charset="0"/>
              </a:rPr>
              <a:t>Insert Source Here</a:t>
            </a:r>
          </a:p>
        </p:txBody>
      </p:sp>
      <p:sp>
        <p:nvSpPr>
          <p:cNvPr id="11" name="Line 6">
            <a:extLst>
              <a:ext uri="{FF2B5EF4-FFF2-40B4-BE49-F238E27FC236}">
                <a16:creationId xmlns:a16="http://schemas.microsoft.com/office/drawing/2014/main" id="{F8C5FE95-0595-425A-989D-25A4CD8E2139}"/>
              </a:ext>
            </a:extLst>
          </p:cNvPr>
          <p:cNvSpPr>
            <a:spLocks noChangeShapeType="1"/>
          </p:cNvSpPr>
          <p:nvPr/>
        </p:nvSpPr>
        <p:spPr bwMode="auto">
          <a:xfrm>
            <a:off x="416813" y="1996671"/>
            <a:ext cx="12594336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573ADD-0198-4B86-85F5-9E5C4673F9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6813" y="1730710"/>
            <a:ext cx="12594336" cy="2769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 anchor="b" anchorCtr="1">
            <a:spAutoFit/>
          </a:bodyPr>
          <a:lstStyle>
            <a:lvl1pPr marL="0" indent="0">
              <a:buNone/>
              <a:defRPr lang="en-US" sz="1800" b="1" i="1" kern="1200" dirty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230177" lvl="0" indent="-230177" algn="ctr" eaLnBrk="0" hangingPunct="0">
              <a:buClr>
                <a:schemeClr val="tx2"/>
              </a:buClr>
            </a:pPr>
            <a:r>
              <a:rPr lang="en-US"/>
              <a:t>Chart Titl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9389C976-4C19-46B4-B8BF-5C61855A14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520" y="987552"/>
            <a:ext cx="12596283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[Insert Insight Here]</a:t>
            </a:r>
          </a:p>
        </p:txBody>
      </p:sp>
    </p:spTree>
    <p:extLst>
      <p:ext uri="{BB962C8B-B14F-4D97-AF65-F5344CB8AC3E}">
        <p14:creationId xmlns:p14="http://schemas.microsoft.com/office/powerpoint/2010/main" val="25731215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2 b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1328540"/>
              </p:ext>
            </p:extLst>
          </p:nvPr>
        </p:nvGraphicFramePr>
        <p:xfrm>
          <a:off x="2123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3" imgH="394" progId="TCLayout.ActiveDocument.1">
                  <p:embed/>
                </p:oleObj>
              </mc:Choice>
              <mc:Fallback>
                <p:oleObj name="think-cell Slide" r:id="rId4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3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7D7D4E-5ABB-4DD2-8DA8-3299ABCF1B1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211668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2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9088B64-C121-43AF-8862-B300DC29F8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08520" y="457213"/>
            <a:ext cx="12596284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rgbClr val="87231D"/>
                </a:solidFill>
              </a:defRPr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261FB6-F0BB-4256-BE68-AB590DA47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8921" y="7086604"/>
            <a:ext cx="10972801" cy="39319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90"/>
            </a:lvl1pPr>
            <a:lvl2pPr>
              <a:defRPr sz="880"/>
            </a:lvl2pPr>
            <a:lvl3pPr>
              <a:defRPr sz="880"/>
            </a:lvl3pPr>
            <a:lvl4pPr>
              <a:defRPr sz="880"/>
            </a:lvl4pPr>
            <a:lvl5pPr>
              <a:defRPr sz="880"/>
            </a:lvl5pPr>
          </a:lstStyle>
          <a:p>
            <a:r>
              <a:rPr lang="en-US">
                <a:solidFill>
                  <a:srgbClr val="000000"/>
                </a:solidFill>
                <a:cs typeface="Arial" pitchFamily="34" charset="0"/>
              </a:rPr>
              <a:t>Insert Source Here</a:t>
            </a:r>
          </a:p>
        </p:txBody>
      </p:sp>
      <p:sp>
        <p:nvSpPr>
          <p:cNvPr id="18" name="Line 6">
            <a:extLst>
              <a:ext uri="{FF2B5EF4-FFF2-40B4-BE49-F238E27FC236}">
                <a16:creationId xmlns:a16="http://schemas.microsoft.com/office/drawing/2014/main" id="{99D3EF72-1DAF-4712-837B-68EA0BDED0A5}"/>
              </a:ext>
            </a:extLst>
          </p:cNvPr>
          <p:cNvSpPr>
            <a:spLocks noChangeShapeType="1"/>
          </p:cNvSpPr>
          <p:nvPr/>
        </p:nvSpPr>
        <p:spPr bwMode="auto">
          <a:xfrm>
            <a:off x="394216" y="2234745"/>
            <a:ext cx="609600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/>
          </a:p>
        </p:txBody>
      </p:sp>
      <p:sp>
        <p:nvSpPr>
          <p:cNvPr id="19" name="Line 6">
            <a:extLst>
              <a:ext uri="{FF2B5EF4-FFF2-40B4-BE49-F238E27FC236}">
                <a16:creationId xmlns:a16="http://schemas.microsoft.com/office/drawing/2014/main" id="{171E4A12-8EDC-4AF7-B059-9798A3000232}"/>
              </a:ext>
            </a:extLst>
          </p:cNvPr>
          <p:cNvSpPr>
            <a:spLocks noChangeShapeType="1"/>
          </p:cNvSpPr>
          <p:nvPr/>
        </p:nvSpPr>
        <p:spPr bwMode="auto">
          <a:xfrm>
            <a:off x="6914261" y="2231544"/>
            <a:ext cx="609600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BA73FF-257A-4967-B6F5-B42DFB765D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4216" y="1857969"/>
            <a:ext cx="609600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5" lvl="0" indent="-195575" algn="ctr" eaLnBrk="0" hangingPunct="0">
              <a:lnSpc>
                <a:spcPts val="1650"/>
              </a:lnSpc>
              <a:spcBef>
                <a:spcPts val="330"/>
              </a:spcBef>
              <a:tabLst>
                <a:tab pos="1131536" algn="l"/>
              </a:tabLst>
            </a:pPr>
            <a:r>
              <a:rPr lang="en-US" b="1" i="1">
                <a:solidFill>
                  <a:srgbClr val="003399"/>
                </a:solidFill>
              </a:rPr>
              <a:t>Segment 1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5BBF90F0-4833-4D85-B314-3C60BC1FC6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14261" y="1857969"/>
            <a:ext cx="609600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5" lvl="0" indent="-195575" algn="ctr" eaLnBrk="0" hangingPunct="0">
              <a:lnSpc>
                <a:spcPts val="1650"/>
              </a:lnSpc>
              <a:spcBef>
                <a:spcPts val="330"/>
              </a:spcBef>
              <a:tabLst>
                <a:tab pos="1131536" algn="l"/>
              </a:tabLst>
            </a:pPr>
            <a:r>
              <a:rPr lang="en-US" b="1" i="1">
                <a:solidFill>
                  <a:srgbClr val="003399"/>
                </a:solidFill>
              </a:rPr>
              <a:t>Segment 2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D5540BE0-2A4B-436B-A030-5FDD9BCF65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524" y="987552"/>
            <a:ext cx="12596284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[Insert Insight Here]</a:t>
            </a:r>
          </a:p>
        </p:txBody>
      </p:sp>
      <p:sp>
        <p:nvSpPr>
          <p:cNvPr id="13" name="Line 6">
            <a:extLst>
              <a:ext uri="{FF2B5EF4-FFF2-40B4-BE49-F238E27FC236}">
                <a16:creationId xmlns:a16="http://schemas.microsoft.com/office/drawing/2014/main" id="{D00AA38F-58BA-4A12-8090-A4034EC0F16C}"/>
              </a:ext>
            </a:extLst>
          </p:cNvPr>
          <p:cNvSpPr>
            <a:spLocks noChangeShapeType="1"/>
          </p:cNvSpPr>
          <p:nvPr/>
        </p:nvSpPr>
        <p:spPr bwMode="auto">
          <a:xfrm>
            <a:off x="394218" y="4667018"/>
            <a:ext cx="12610587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AD881AA-469B-407F-9ACB-4F97910B4D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57601" y="4295964"/>
            <a:ext cx="609600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5" lvl="0" indent="-195575" algn="ctr" eaLnBrk="0" hangingPunct="0">
              <a:lnSpc>
                <a:spcPts val="1650"/>
              </a:lnSpc>
              <a:spcBef>
                <a:spcPts val="330"/>
              </a:spcBef>
              <a:tabLst>
                <a:tab pos="1131536" algn="l"/>
              </a:tabLst>
            </a:pPr>
            <a:r>
              <a:rPr lang="en-US" b="1" i="1">
                <a:solidFill>
                  <a:srgbClr val="003399"/>
                </a:solidFill>
              </a:rPr>
              <a:t>Segment 3</a:t>
            </a:r>
          </a:p>
        </p:txBody>
      </p:sp>
    </p:spTree>
    <p:extLst>
      <p:ext uri="{BB962C8B-B14F-4D97-AF65-F5344CB8AC3E}">
        <p14:creationId xmlns:p14="http://schemas.microsoft.com/office/powerpoint/2010/main" val="230627992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55283" y="337184"/>
            <a:ext cx="12363027" cy="369378"/>
          </a:xfrm>
        </p:spPr>
        <p:txBody>
          <a:bodyPr lIns="0" tIns="0" rIns="0" bIns="0"/>
          <a:lstStyle>
            <a:lvl1pPr>
              <a:defRPr sz="1800" b="0" i="0">
                <a:solidFill>
                  <a:srgbClr val="86221D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6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75" b="0" i="0">
                <a:solidFill>
                  <a:srgbClr val="86221D"/>
                </a:solidFill>
                <a:latin typeface="Arial"/>
                <a:cs typeface="Arial"/>
              </a:defRPr>
            </a:lvl1pPr>
          </a:lstStyle>
          <a:p>
            <a:pPr marL="76198">
              <a:spcBef>
                <a:spcPts val="12"/>
              </a:spcBef>
            </a:pPr>
            <a:fld id="{81D60167-4931-47E6-BA6A-407CBD079E47}" type="slidenum">
              <a:rPr lang="en-US" spc="-4" smtClean="0"/>
              <a:pPr marL="76198">
                <a:spcBef>
                  <a:spcPts val="12"/>
                </a:spcBef>
              </a:pPr>
              <a:t>‹#›</a:t>
            </a:fld>
            <a:endParaRPr lang="en-US" spc="-4"/>
          </a:p>
        </p:txBody>
      </p:sp>
    </p:spTree>
    <p:extLst>
      <p:ext uri="{BB962C8B-B14F-4D97-AF65-F5344CB8AC3E}">
        <p14:creationId xmlns:p14="http://schemas.microsoft.com/office/powerpoint/2010/main" val="2473269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HS 1/2 : RHS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4135740"/>
              </p:ext>
            </p:extLst>
          </p:nvPr>
        </p:nvGraphicFramePr>
        <p:xfrm>
          <a:off x="2119" y="159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3" imgH="394" progId="TCLayout.ActiveDocument.1">
                  <p:embed/>
                </p:oleObj>
              </mc:Choice>
              <mc:Fallback>
                <p:oleObj name="think-cell Slide" r:id="rId4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7D7D4E-5ABB-4DD2-8DA8-3299ABCF1B1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211667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9088B64-C121-43AF-8862-B300DC29F8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08517" y="457211"/>
            <a:ext cx="12596283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rgbClr val="87231D"/>
                </a:solidFill>
              </a:defRPr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261FB6-F0BB-4256-BE68-AB590DA47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8912" y="7086600"/>
            <a:ext cx="10972800" cy="39319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00"/>
            </a:lvl1pPr>
            <a:lvl2pPr>
              <a:defRPr sz="880"/>
            </a:lvl2pPr>
            <a:lvl3pPr>
              <a:defRPr sz="880"/>
            </a:lvl3pPr>
            <a:lvl4pPr>
              <a:defRPr sz="880"/>
            </a:lvl4pPr>
            <a:lvl5pPr>
              <a:defRPr sz="880"/>
            </a:lvl5pPr>
          </a:lstStyle>
          <a:p>
            <a:r>
              <a:rPr lang="en-US">
                <a:solidFill>
                  <a:srgbClr val="000000"/>
                </a:solidFill>
                <a:cs typeface="Arial" pitchFamily="34" charset="0"/>
              </a:rPr>
              <a:t>Insert Source Here</a:t>
            </a:r>
          </a:p>
        </p:txBody>
      </p:sp>
      <p:sp>
        <p:nvSpPr>
          <p:cNvPr id="18" name="Line 6">
            <a:extLst>
              <a:ext uri="{FF2B5EF4-FFF2-40B4-BE49-F238E27FC236}">
                <a16:creationId xmlns:a16="http://schemas.microsoft.com/office/drawing/2014/main" id="{99D3EF72-1DAF-4712-837B-68EA0BDED0A5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519" y="2234745"/>
            <a:ext cx="609600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>
              <a:solidFill>
                <a:srgbClr val="87231D"/>
              </a:solidFill>
            </a:endParaRPr>
          </a:p>
        </p:txBody>
      </p:sp>
      <p:sp>
        <p:nvSpPr>
          <p:cNvPr id="19" name="Line 6">
            <a:extLst>
              <a:ext uri="{FF2B5EF4-FFF2-40B4-BE49-F238E27FC236}">
                <a16:creationId xmlns:a16="http://schemas.microsoft.com/office/drawing/2014/main" id="{171E4A12-8EDC-4AF7-B059-9798A3000232}"/>
              </a:ext>
            </a:extLst>
          </p:cNvPr>
          <p:cNvSpPr>
            <a:spLocks noChangeShapeType="1"/>
          </p:cNvSpPr>
          <p:nvPr/>
        </p:nvSpPr>
        <p:spPr bwMode="auto">
          <a:xfrm>
            <a:off x="6914260" y="2231544"/>
            <a:ext cx="609600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>
              <a:solidFill>
                <a:srgbClr val="87231D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BA73FF-257A-4967-B6F5-B42DFB765D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519" y="1857968"/>
            <a:ext cx="6096000" cy="36576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0" lvl="0" indent="-195570" algn="ctr" eaLnBrk="0" hangingPunct="0">
              <a:lnSpc>
                <a:spcPts val="1650"/>
              </a:lnSpc>
              <a:spcBef>
                <a:spcPts val="330"/>
              </a:spcBef>
              <a:tabLst>
                <a:tab pos="1131514" algn="l"/>
              </a:tabLst>
            </a:pPr>
            <a:r>
              <a:rPr lang="en-US" b="1" i="1">
                <a:solidFill>
                  <a:srgbClr val="003399"/>
                </a:solidFill>
              </a:rPr>
              <a:t>Left Hand Side 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5BBF90F0-4833-4D85-B314-3C60BC1FC6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14260" y="1857968"/>
            <a:ext cx="609600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0" lvl="0" indent="-195570" algn="ctr" eaLnBrk="0" hangingPunct="0">
              <a:lnSpc>
                <a:spcPts val="1650"/>
              </a:lnSpc>
              <a:spcBef>
                <a:spcPts val="330"/>
              </a:spcBef>
              <a:tabLst>
                <a:tab pos="1131514" algn="l"/>
              </a:tabLst>
            </a:pPr>
            <a:r>
              <a:rPr lang="en-US" b="1" i="1">
                <a:solidFill>
                  <a:srgbClr val="003399"/>
                </a:solidFill>
              </a:rPr>
              <a:t>Right Hand Side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D5540BE0-2A4B-436B-A030-5FDD9BCF65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3985" y="987552"/>
            <a:ext cx="12590823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[Insert Insight Here]</a:t>
            </a:r>
          </a:p>
        </p:txBody>
      </p:sp>
    </p:spTree>
    <p:extLst>
      <p:ext uri="{BB962C8B-B14F-4D97-AF65-F5344CB8AC3E}">
        <p14:creationId xmlns:p14="http://schemas.microsoft.com/office/powerpoint/2010/main" val="19586418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D5360D41-4177-428C-92C4-35641032A45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0" y="0"/>
            <a:ext cx="16933" cy="12700"/>
          </a:xfrm>
          <a:prstGeom prst="octagon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699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334897"/>
              </p:ext>
            </p:extLst>
          </p:nvPr>
        </p:nvGraphicFramePr>
        <p:xfrm>
          <a:off x="2119" y="159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7D7D4E-5ABB-4DD2-8DA8-3299ABCF1B1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211667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9088B64-C121-43AF-8862-B300DC29F8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08517" y="457211"/>
            <a:ext cx="12596283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rgbClr val="87231D"/>
                </a:solidFill>
              </a:defRPr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261FB6-F0BB-4256-BE68-AB590DA47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8912" y="7086600"/>
            <a:ext cx="10972800" cy="39319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00"/>
            </a:lvl1pPr>
            <a:lvl2pPr>
              <a:defRPr sz="880"/>
            </a:lvl2pPr>
            <a:lvl3pPr>
              <a:defRPr sz="880"/>
            </a:lvl3pPr>
            <a:lvl4pPr>
              <a:defRPr sz="880"/>
            </a:lvl4pPr>
            <a:lvl5pPr>
              <a:defRPr sz="880"/>
            </a:lvl5pPr>
          </a:lstStyle>
          <a:p>
            <a:r>
              <a:rPr lang="en-US">
                <a:solidFill>
                  <a:srgbClr val="000000"/>
                </a:solidFill>
                <a:cs typeface="Arial" pitchFamily="34" charset="0"/>
              </a:rPr>
              <a:t>Insert Source Here</a:t>
            </a:r>
          </a:p>
        </p:txBody>
      </p:sp>
      <p:sp>
        <p:nvSpPr>
          <p:cNvPr id="18" name="Line 6">
            <a:extLst>
              <a:ext uri="{FF2B5EF4-FFF2-40B4-BE49-F238E27FC236}">
                <a16:creationId xmlns:a16="http://schemas.microsoft.com/office/drawing/2014/main" id="{99D3EF72-1DAF-4712-837B-68EA0BDED0A5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519" y="2234745"/>
            <a:ext cx="609600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9" name="Line 6">
            <a:extLst>
              <a:ext uri="{FF2B5EF4-FFF2-40B4-BE49-F238E27FC236}">
                <a16:creationId xmlns:a16="http://schemas.microsoft.com/office/drawing/2014/main" id="{171E4A12-8EDC-4AF7-B059-9798A3000232}"/>
              </a:ext>
            </a:extLst>
          </p:cNvPr>
          <p:cNvSpPr>
            <a:spLocks noChangeShapeType="1"/>
          </p:cNvSpPr>
          <p:nvPr/>
        </p:nvSpPr>
        <p:spPr bwMode="auto">
          <a:xfrm>
            <a:off x="6908800" y="2231544"/>
            <a:ext cx="609600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BA73FF-257A-4967-B6F5-B42DFB765D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519" y="1873967"/>
            <a:ext cx="609600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0" lvl="0" indent="-195570" algn="ctr" eaLnBrk="0" hangingPunct="0">
              <a:lnSpc>
                <a:spcPts val="1650"/>
              </a:lnSpc>
              <a:spcBef>
                <a:spcPts val="330"/>
              </a:spcBef>
              <a:tabLst>
                <a:tab pos="1131514" algn="l"/>
              </a:tabLst>
            </a:pPr>
            <a:r>
              <a:rPr lang="en-US" b="1" i="1">
                <a:solidFill>
                  <a:srgbClr val="003399"/>
                </a:solidFill>
              </a:rPr>
              <a:t>Segment 1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5BBF90F0-4833-4D85-B314-3C60BC1FC6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08800" y="1873967"/>
            <a:ext cx="609600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0" lvl="0" indent="-195570" algn="ctr" eaLnBrk="0" hangingPunct="0">
              <a:lnSpc>
                <a:spcPts val="1650"/>
              </a:lnSpc>
              <a:spcBef>
                <a:spcPts val="330"/>
              </a:spcBef>
              <a:tabLst>
                <a:tab pos="1131514" algn="l"/>
              </a:tabLst>
            </a:pPr>
            <a:r>
              <a:rPr lang="en-US" b="1" i="1">
                <a:solidFill>
                  <a:srgbClr val="003399"/>
                </a:solidFill>
              </a:rPr>
              <a:t>Segment 2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D5540BE0-2A4B-436B-A030-5FDD9BCF65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526" y="987552"/>
            <a:ext cx="12596281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[Insert Insight Here]</a:t>
            </a:r>
          </a:p>
        </p:txBody>
      </p:sp>
      <p:sp>
        <p:nvSpPr>
          <p:cNvPr id="13" name="Line 6">
            <a:extLst>
              <a:ext uri="{FF2B5EF4-FFF2-40B4-BE49-F238E27FC236}">
                <a16:creationId xmlns:a16="http://schemas.microsoft.com/office/drawing/2014/main" id="{D00AA38F-58BA-4A12-8090-A4034EC0F16C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519" y="4667018"/>
            <a:ext cx="609600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Line 6">
            <a:extLst>
              <a:ext uri="{FF2B5EF4-FFF2-40B4-BE49-F238E27FC236}">
                <a16:creationId xmlns:a16="http://schemas.microsoft.com/office/drawing/2014/main" id="{655752A8-B7AA-4AD6-80B6-DAAF16E95BAB}"/>
              </a:ext>
            </a:extLst>
          </p:cNvPr>
          <p:cNvSpPr>
            <a:spLocks noChangeShapeType="1"/>
          </p:cNvSpPr>
          <p:nvPr/>
        </p:nvSpPr>
        <p:spPr bwMode="auto">
          <a:xfrm>
            <a:off x="6908800" y="4663817"/>
            <a:ext cx="609600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AD881AA-469B-407F-9ACB-4F97910B4D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8519" y="4306240"/>
            <a:ext cx="609600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0" lvl="0" indent="-195570" algn="ctr" eaLnBrk="0" hangingPunct="0">
              <a:lnSpc>
                <a:spcPts val="1650"/>
              </a:lnSpc>
              <a:spcBef>
                <a:spcPts val="330"/>
              </a:spcBef>
              <a:tabLst>
                <a:tab pos="1131514" algn="l"/>
              </a:tabLst>
            </a:pPr>
            <a:r>
              <a:rPr lang="en-US" b="1" i="1">
                <a:solidFill>
                  <a:srgbClr val="003399"/>
                </a:solidFill>
              </a:rPr>
              <a:t>Segment 3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BF4409E-CD6F-40B8-B9D4-7C1873035C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08800" y="4306240"/>
            <a:ext cx="609600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0" lvl="0" indent="-195570" algn="ctr" eaLnBrk="0" hangingPunct="0">
              <a:lnSpc>
                <a:spcPts val="1650"/>
              </a:lnSpc>
              <a:spcBef>
                <a:spcPts val="330"/>
              </a:spcBef>
              <a:tabLst>
                <a:tab pos="1131514" algn="l"/>
              </a:tabLst>
            </a:pPr>
            <a:r>
              <a:rPr lang="en-US" b="1" i="1">
                <a:solidFill>
                  <a:srgbClr val="003399"/>
                </a:solidFill>
              </a:rPr>
              <a:t>Segment 4</a:t>
            </a:r>
          </a:p>
        </p:txBody>
      </p:sp>
    </p:spTree>
    <p:extLst>
      <p:ext uri="{BB962C8B-B14F-4D97-AF65-F5344CB8AC3E}">
        <p14:creationId xmlns:p14="http://schemas.microsoft.com/office/powerpoint/2010/main" val="12803349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9235873"/>
              </p:ext>
            </p:extLst>
          </p:nvPr>
        </p:nvGraphicFramePr>
        <p:xfrm>
          <a:off x="2119" y="159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3" imgH="394" progId="TCLayout.ActiveDocument.1">
                  <p:embed/>
                </p:oleObj>
              </mc:Choice>
              <mc:Fallback>
                <p:oleObj name="think-cell Slide" r:id="rId4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7D7D4E-5ABB-4DD2-8DA8-3299ABCF1B1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211667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9088B64-C121-43AF-8862-B300DC29F8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08517" y="457211"/>
            <a:ext cx="12596283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rgbClr val="87231D"/>
                </a:solidFill>
              </a:defRPr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261FB6-F0BB-4256-BE68-AB590DA47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8912" y="7086600"/>
            <a:ext cx="10972800" cy="39319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00"/>
            </a:lvl1pPr>
            <a:lvl2pPr>
              <a:defRPr sz="880"/>
            </a:lvl2pPr>
            <a:lvl3pPr>
              <a:defRPr sz="880"/>
            </a:lvl3pPr>
            <a:lvl4pPr>
              <a:defRPr sz="880"/>
            </a:lvl4pPr>
            <a:lvl5pPr>
              <a:defRPr sz="880"/>
            </a:lvl5pPr>
          </a:lstStyle>
          <a:p>
            <a:r>
              <a:rPr lang="en-US">
                <a:solidFill>
                  <a:srgbClr val="000000"/>
                </a:solidFill>
                <a:cs typeface="Arial" pitchFamily="34" charset="0"/>
              </a:rPr>
              <a:t>Insert Source Here</a:t>
            </a:r>
          </a:p>
        </p:txBody>
      </p:sp>
      <p:sp>
        <p:nvSpPr>
          <p:cNvPr id="18" name="Line 6">
            <a:extLst>
              <a:ext uri="{FF2B5EF4-FFF2-40B4-BE49-F238E27FC236}">
                <a16:creationId xmlns:a16="http://schemas.microsoft.com/office/drawing/2014/main" id="{99D3EF72-1DAF-4712-837B-68EA0BDED0A5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519" y="2234745"/>
            <a:ext cx="402336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>
              <a:solidFill>
                <a:srgbClr val="87231D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BA73FF-257A-4967-B6F5-B42DFB765D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519" y="1863688"/>
            <a:ext cx="402336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0" lvl="0" indent="-195570" algn="ctr" eaLnBrk="0" hangingPunct="0">
              <a:lnSpc>
                <a:spcPts val="1650"/>
              </a:lnSpc>
              <a:spcBef>
                <a:spcPts val="330"/>
              </a:spcBef>
              <a:tabLst>
                <a:tab pos="1131514" algn="l"/>
              </a:tabLst>
            </a:pPr>
            <a:r>
              <a:rPr lang="en-US" b="1" i="1">
                <a:solidFill>
                  <a:srgbClr val="003399"/>
                </a:solidFill>
              </a:rPr>
              <a:t>Column 1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D5540BE0-2A4B-436B-A030-5FDD9BCF65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526" y="987552"/>
            <a:ext cx="12596281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[Insert Insight Here]</a:t>
            </a:r>
          </a:p>
        </p:txBody>
      </p:sp>
      <p:sp>
        <p:nvSpPr>
          <p:cNvPr id="15" name="Line 6">
            <a:extLst>
              <a:ext uri="{FF2B5EF4-FFF2-40B4-BE49-F238E27FC236}">
                <a16:creationId xmlns:a16="http://schemas.microsoft.com/office/drawing/2014/main" id="{87C244B2-2992-4532-AD0F-B51AB490477B}"/>
              </a:ext>
            </a:extLst>
          </p:cNvPr>
          <p:cNvSpPr>
            <a:spLocks noChangeShapeType="1"/>
          </p:cNvSpPr>
          <p:nvPr/>
        </p:nvSpPr>
        <p:spPr bwMode="auto">
          <a:xfrm>
            <a:off x="8981440" y="2234745"/>
            <a:ext cx="402336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>
              <a:solidFill>
                <a:srgbClr val="87231D"/>
              </a:solidFill>
            </a:endParaRP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9A5243D-EEFF-4325-8DF0-38868474D4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81440" y="1863688"/>
            <a:ext cx="402336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0" lvl="0" indent="-195570" algn="ctr" eaLnBrk="0" hangingPunct="0">
              <a:lnSpc>
                <a:spcPts val="1650"/>
              </a:lnSpc>
              <a:spcBef>
                <a:spcPts val="330"/>
              </a:spcBef>
              <a:tabLst>
                <a:tab pos="1131514" algn="l"/>
              </a:tabLst>
            </a:pPr>
            <a:r>
              <a:rPr lang="en-US" b="1" i="1">
                <a:solidFill>
                  <a:srgbClr val="003399"/>
                </a:solidFill>
              </a:rPr>
              <a:t>Column 3 Title</a:t>
            </a:r>
          </a:p>
        </p:txBody>
      </p:sp>
      <p:sp>
        <p:nvSpPr>
          <p:cNvPr id="17" name="Line 6">
            <a:extLst>
              <a:ext uri="{FF2B5EF4-FFF2-40B4-BE49-F238E27FC236}">
                <a16:creationId xmlns:a16="http://schemas.microsoft.com/office/drawing/2014/main" id="{F7E16334-191F-4FD9-8F99-BB85BE2C1523}"/>
              </a:ext>
            </a:extLst>
          </p:cNvPr>
          <p:cNvSpPr>
            <a:spLocks noChangeShapeType="1"/>
          </p:cNvSpPr>
          <p:nvPr/>
        </p:nvSpPr>
        <p:spPr bwMode="auto">
          <a:xfrm>
            <a:off x="4693921" y="2234745"/>
            <a:ext cx="402336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>
              <a:solidFill>
                <a:srgbClr val="87231D"/>
              </a:solidFill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A73391-6FCE-4919-AFF6-C231AFF7A8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94979" y="1863688"/>
            <a:ext cx="402336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0" lvl="0" indent="-195570" algn="ctr" eaLnBrk="0" hangingPunct="0">
              <a:lnSpc>
                <a:spcPts val="1650"/>
              </a:lnSpc>
              <a:spcBef>
                <a:spcPts val="330"/>
              </a:spcBef>
              <a:tabLst>
                <a:tab pos="1131514" algn="l"/>
              </a:tabLst>
            </a:pPr>
            <a:r>
              <a:rPr lang="en-US" b="1" i="1">
                <a:solidFill>
                  <a:srgbClr val="003399"/>
                </a:solidFill>
              </a:rPr>
              <a:t>Column 2 Title</a:t>
            </a:r>
          </a:p>
        </p:txBody>
      </p:sp>
    </p:spTree>
    <p:extLst>
      <p:ext uri="{BB962C8B-B14F-4D97-AF65-F5344CB8AC3E}">
        <p14:creationId xmlns:p14="http://schemas.microsoft.com/office/powerpoint/2010/main" val="14680986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4627844"/>
              </p:ext>
            </p:extLst>
          </p:nvPr>
        </p:nvGraphicFramePr>
        <p:xfrm>
          <a:off x="2119" y="159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3" imgH="394" progId="TCLayout.ActiveDocument.1">
                  <p:embed/>
                </p:oleObj>
              </mc:Choice>
              <mc:Fallback>
                <p:oleObj name="think-cell Slide" r:id="rId4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7D7D4E-5ABB-4DD2-8DA8-3299ABCF1B1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211667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9088B64-C121-43AF-8862-B300DC29F8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08517" y="457211"/>
            <a:ext cx="12596283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rgbClr val="87231D"/>
                </a:solidFill>
              </a:defRPr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261FB6-F0BB-4256-BE68-AB590DA47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8912" y="7086600"/>
            <a:ext cx="10972800" cy="39319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00"/>
            </a:lvl1pPr>
            <a:lvl2pPr>
              <a:defRPr sz="880"/>
            </a:lvl2pPr>
            <a:lvl3pPr>
              <a:defRPr sz="880"/>
            </a:lvl3pPr>
            <a:lvl4pPr>
              <a:defRPr sz="880"/>
            </a:lvl4pPr>
            <a:lvl5pPr>
              <a:defRPr sz="880"/>
            </a:lvl5pPr>
          </a:lstStyle>
          <a:p>
            <a:r>
              <a:rPr lang="en-US">
                <a:solidFill>
                  <a:srgbClr val="000000"/>
                </a:solidFill>
                <a:cs typeface="Arial" pitchFamily="34" charset="0"/>
              </a:rPr>
              <a:t>Insert Source Here</a:t>
            </a:r>
          </a:p>
        </p:txBody>
      </p:sp>
      <p:sp>
        <p:nvSpPr>
          <p:cNvPr id="18" name="Line 6">
            <a:extLst>
              <a:ext uri="{FF2B5EF4-FFF2-40B4-BE49-F238E27FC236}">
                <a16:creationId xmlns:a16="http://schemas.microsoft.com/office/drawing/2014/main" id="{99D3EF72-1DAF-4712-837B-68EA0BDED0A5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519" y="2235252"/>
            <a:ext cx="292608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>
              <a:solidFill>
                <a:srgbClr val="87231D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BA73FF-257A-4967-B6F5-B42DFB765D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519" y="1857968"/>
            <a:ext cx="292608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0" lvl="0" indent="-195570" algn="ctr" eaLnBrk="0" hangingPunct="0">
              <a:lnSpc>
                <a:spcPts val="1650"/>
              </a:lnSpc>
              <a:spcBef>
                <a:spcPts val="330"/>
              </a:spcBef>
              <a:tabLst>
                <a:tab pos="1131514" algn="l"/>
              </a:tabLst>
            </a:pPr>
            <a:r>
              <a:rPr lang="en-US" b="1" i="1">
                <a:solidFill>
                  <a:srgbClr val="003399"/>
                </a:solidFill>
              </a:rPr>
              <a:t>Column 1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D5540BE0-2A4B-436B-A030-5FDD9BCF65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526" y="987552"/>
            <a:ext cx="12596281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[Insert Insight Here]</a:t>
            </a:r>
          </a:p>
        </p:txBody>
      </p:sp>
      <p:sp>
        <p:nvSpPr>
          <p:cNvPr id="13" name="Line 6">
            <a:extLst>
              <a:ext uri="{FF2B5EF4-FFF2-40B4-BE49-F238E27FC236}">
                <a16:creationId xmlns:a16="http://schemas.microsoft.com/office/drawing/2014/main" id="{17A50F94-00F9-4E9A-860E-26E5B45D513A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78720" y="2235252"/>
            <a:ext cx="292608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>
              <a:solidFill>
                <a:srgbClr val="87231D"/>
              </a:solidFill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0D3E4BC-F1C7-48A0-BA35-A699BBF977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78720" y="1857968"/>
            <a:ext cx="292608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0" lvl="0" indent="-195570" algn="ctr" eaLnBrk="0" hangingPunct="0">
              <a:lnSpc>
                <a:spcPts val="1650"/>
              </a:lnSpc>
              <a:spcBef>
                <a:spcPts val="330"/>
              </a:spcBef>
              <a:tabLst>
                <a:tab pos="1131514" algn="l"/>
              </a:tabLst>
            </a:pPr>
            <a:r>
              <a:rPr lang="en-US" b="1" i="1">
                <a:solidFill>
                  <a:srgbClr val="003399"/>
                </a:solidFill>
              </a:rPr>
              <a:t>Column 4 Titl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15DBE3C-3411-4F91-9AE2-D09196811F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31919" y="1857968"/>
            <a:ext cx="292608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0" lvl="0" indent="-195570" algn="ctr" eaLnBrk="0" hangingPunct="0">
              <a:lnSpc>
                <a:spcPts val="1650"/>
              </a:lnSpc>
              <a:spcBef>
                <a:spcPts val="330"/>
              </a:spcBef>
              <a:tabLst>
                <a:tab pos="1131514" algn="l"/>
              </a:tabLst>
            </a:pPr>
            <a:r>
              <a:rPr lang="en-US" b="1" i="1">
                <a:solidFill>
                  <a:srgbClr val="003399"/>
                </a:solidFill>
              </a:rPr>
              <a:t>Column 2 Titl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9E362FC5-A49B-4A1B-A9F3-C75F13C7C4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55319" y="1857968"/>
            <a:ext cx="292608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0" lvl="0" indent="-195570" algn="ctr" eaLnBrk="0" hangingPunct="0">
              <a:lnSpc>
                <a:spcPts val="1650"/>
              </a:lnSpc>
              <a:spcBef>
                <a:spcPts val="330"/>
              </a:spcBef>
              <a:tabLst>
                <a:tab pos="1131514" algn="l"/>
              </a:tabLst>
            </a:pPr>
            <a:r>
              <a:rPr lang="en-US" b="1" i="1">
                <a:solidFill>
                  <a:srgbClr val="003399"/>
                </a:solidFill>
              </a:rPr>
              <a:t>Column 3 Title</a:t>
            </a:r>
          </a:p>
        </p:txBody>
      </p:sp>
      <p:sp>
        <p:nvSpPr>
          <p:cNvPr id="26" name="Line 6">
            <a:extLst>
              <a:ext uri="{FF2B5EF4-FFF2-40B4-BE49-F238E27FC236}">
                <a16:creationId xmlns:a16="http://schemas.microsoft.com/office/drawing/2014/main" id="{962DDC9D-D67F-48EC-88E4-98CCCCA8B5EB}"/>
              </a:ext>
            </a:extLst>
          </p:cNvPr>
          <p:cNvSpPr>
            <a:spLocks noChangeShapeType="1"/>
          </p:cNvSpPr>
          <p:nvPr/>
        </p:nvSpPr>
        <p:spPr bwMode="auto">
          <a:xfrm>
            <a:off x="3631920" y="2235252"/>
            <a:ext cx="292608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>
              <a:solidFill>
                <a:srgbClr val="87231D"/>
              </a:solidFill>
            </a:endParaRPr>
          </a:p>
        </p:txBody>
      </p:sp>
      <p:sp>
        <p:nvSpPr>
          <p:cNvPr id="27" name="Line 6">
            <a:extLst>
              <a:ext uri="{FF2B5EF4-FFF2-40B4-BE49-F238E27FC236}">
                <a16:creationId xmlns:a16="http://schemas.microsoft.com/office/drawing/2014/main" id="{7CBA5223-AD0D-44B6-8A76-05709B85225D}"/>
              </a:ext>
            </a:extLst>
          </p:cNvPr>
          <p:cNvSpPr>
            <a:spLocks noChangeShapeType="1"/>
          </p:cNvSpPr>
          <p:nvPr/>
        </p:nvSpPr>
        <p:spPr bwMode="auto">
          <a:xfrm>
            <a:off x="6855321" y="2235252"/>
            <a:ext cx="292608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>
              <a:solidFill>
                <a:srgbClr val="87231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9860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2/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3647930"/>
              </p:ext>
            </p:extLst>
          </p:nvPr>
        </p:nvGraphicFramePr>
        <p:xfrm>
          <a:off x="2119" y="159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3" imgH="394" progId="TCLayout.ActiveDocument.1">
                  <p:embed/>
                </p:oleObj>
              </mc:Choice>
              <mc:Fallback>
                <p:oleObj name="think-cell Slide" r:id="rId4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7D7D4E-5ABB-4DD2-8DA8-3299ABCF1B1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211667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9088B64-C121-43AF-8862-B300DC29F8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08517" y="457211"/>
            <a:ext cx="12596283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rgbClr val="87231D"/>
                </a:solidFill>
              </a:defRPr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261FB6-F0BB-4256-BE68-AB590DA47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8912" y="7086600"/>
            <a:ext cx="10972800" cy="39319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00"/>
            </a:lvl1pPr>
            <a:lvl2pPr>
              <a:defRPr sz="880"/>
            </a:lvl2pPr>
            <a:lvl3pPr>
              <a:defRPr sz="880"/>
            </a:lvl3pPr>
            <a:lvl4pPr>
              <a:defRPr sz="880"/>
            </a:lvl4pPr>
            <a:lvl5pPr>
              <a:defRPr sz="880"/>
            </a:lvl5pPr>
          </a:lstStyle>
          <a:p>
            <a:r>
              <a:rPr lang="en-US">
                <a:solidFill>
                  <a:srgbClr val="000000"/>
                </a:solidFill>
                <a:cs typeface="Arial" pitchFamily="34" charset="0"/>
              </a:rPr>
              <a:t>Insert Source Here</a:t>
            </a:r>
          </a:p>
        </p:txBody>
      </p:sp>
      <p:sp>
        <p:nvSpPr>
          <p:cNvPr id="18" name="Line 6">
            <a:extLst>
              <a:ext uri="{FF2B5EF4-FFF2-40B4-BE49-F238E27FC236}">
                <a16:creationId xmlns:a16="http://schemas.microsoft.com/office/drawing/2014/main" id="{99D3EF72-1DAF-4712-837B-68EA0BDED0A5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521" y="2234745"/>
            <a:ext cx="4053755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>
              <a:solidFill>
                <a:srgbClr val="87231D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BA73FF-257A-4967-B6F5-B42DFB765D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94983" y="1857968"/>
            <a:ext cx="830982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0" lvl="0" indent="-195570" algn="ctr" eaLnBrk="0" hangingPunct="0">
              <a:lnSpc>
                <a:spcPts val="1650"/>
              </a:lnSpc>
              <a:spcBef>
                <a:spcPts val="330"/>
              </a:spcBef>
              <a:tabLst>
                <a:tab pos="1131514" algn="l"/>
              </a:tabLst>
            </a:pPr>
            <a:r>
              <a:rPr lang="en-US" b="1" i="1">
                <a:solidFill>
                  <a:srgbClr val="003399"/>
                </a:solidFill>
              </a:rPr>
              <a:t>Column 2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D5540BE0-2A4B-436B-A030-5FDD9BCF65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526" y="987552"/>
            <a:ext cx="12596281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[Insert Insight Here]</a:t>
            </a:r>
          </a:p>
        </p:txBody>
      </p:sp>
      <p:sp>
        <p:nvSpPr>
          <p:cNvPr id="15" name="Line 6">
            <a:extLst>
              <a:ext uri="{FF2B5EF4-FFF2-40B4-BE49-F238E27FC236}">
                <a16:creationId xmlns:a16="http://schemas.microsoft.com/office/drawing/2014/main" id="{87C244B2-2992-4532-AD0F-B51AB490477B}"/>
              </a:ext>
            </a:extLst>
          </p:cNvPr>
          <p:cNvSpPr>
            <a:spLocks noChangeShapeType="1"/>
          </p:cNvSpPr>
          <p:nvPr/>
        </p:nvSpPr>
        <p:spPr bwMode="auto">
          <a:xfrm>
            <a:off x="4694983" y="2234745"/>
            <a:ext cx="830982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>
              <a:solidFill>
                <a:srgbClr val="87231D"/>
              </a:solidFill>
            </a:endParaRP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9A5243D-EEFF-4325-8DF0-38868474D4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8912" y="1857968"/>
            <a:ext cx="402336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0" lvl="0" indent="-195570" algn="ctr" eaLnBrk="0" hangingPunct="0">
              <a:lnSpc>
                <a:spcPts val="1650"/>
              </a:lnSpc>
              <a:spcBef>
                <a:spcPts val="330"/>
              </a:spcBef>
              <a:tabLst>
                <a:tab pos="1131514" algn="l"/>
              </a:tabLst>
            </a:pPr>
            <a:r>
              <a:rPr lang="en-US" b="1" i="1">
                <a:solidFill>
                  <a:srgbClr val="003399"/>
                </a:solidFill>
              </a:rPr>
              <a:t>Column 1 Title</a:t>
            </a:r>
          </a:p>
        </p:txBody>
      </p:sp>
    </p:spTree>
    <p:extLst>
      <p:ext uri="{BB962C8B-B14F-4D97-AF65-F5344CB8AC3E}">
        <p14:creationId xmlns:p14="http://schemas.microsoft.com/office/powerpoint/2010/main" val="1419035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1/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3" imgH="394" progId="TCLayout.ActiveDocument.1">
                  <p:embed/>
                </p:oleObj>
              </mc:Choice>
              <mc:Fallback>
                <p:oleObj name="think-cell Slide" r:id="rId4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7D7D4E-5ABB-4DD2-8DA8-3299ABCF1B1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211667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9088B64-C121-43AF-8862-B300DC29F8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08517" y="457211"/>
            <a:ext cx="12596283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rgbClr val="87231D"/>
                </a:solidFill>
              </a:defRPr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261FB6-F0BB-4256-BE68-AB590DA47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8912" y="7086600"/>
            <a:ext cx="10972800" cy="39319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00"/>
            </a:lvl1pPr>
            <a:lvl2pPr>
              <a:defRPr sz="880"/>
            </a:lvl2pPr>
            <a:lvl3pPr>
              <a:defRPr sz="880"/>
            </a:lvl3pPr>
            <a:lvl4pPr>
              <a:defRPr sz="880"/>
            </a:lvl4pPr>
            <a:lvl5pPr>
              <a:defRPr sz="880"/>
            </a:lvl5pPr>
          </a:lstStyle>
          <a:p>
            <a:r>
              <a:rPr lang="en-US">
                <a:solidFill>
                  <a:srgbClr val="000000"/>
                </a:solidFill>
                <a:cs typeface="Arial" pitchFamily="34" charset="0"/>
              </a:rPr>
              <a:t>Insert Source Here</a:t>
            </a:r>
          </a:p>
        </p:txBody>
      </p:sp>
      <p:sp>
        <p:nvSpPr>
          <p:cNvPr id="18" name="Line 6">
            <a:extLst>
              <a:ext uri="{FF2B5EF4-FFF2-40B4-BE49-F238E27FC236}">
                <a16:creationId xmlns:a16="http://schemas.microsoft.com/office/drawing/2014/main" id="{99D3EF72-1DAF-4712-837B-68EA0BDED0A5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519" y="2234745"/>
            <a:ext cx="830982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BA73FF-257A-4967-B6F5-B42DFB765D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519" y="1857968"/>
            <a:ext cx="830982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0" lvl="0" indent="-195570" algn="ctr" eaLnBrk="0" hangingPunct="0">
              <a:lnSpc>
                <a:spcPts val="1650"/>
              </a:lnSpc>
              <a:spcBef>
                <a:spcPts val="330"/>
              </a:spcBef>
              <a:tabLst>
                <a:tab pos="1131514" algn="l"/>
              </a:tabLst>
            </a:pPr>
            <a:r>
              <a:rPr lang="en-US" b="1" i="1">
                <a:solidFill>
                  <a:srgbClr val="003399"/>
                </a:solidFill>
              </a:rPr>
              <a:t>Column 1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D5540BE0-2A4B-436B-A030-5FDD9BCF65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526" y="987552"/>
            <a:ext cx="12596281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[Insert Insight Here]</a:t>
            </a:r>
          </a:p>
        </p:txBody>
      </p:sp>
      <p:sp>
        <p:nvSpPr>
          <p:cNvPr id="15" name="Line 6">
            <a:extLst>
              <a:ext uri="{FF2B5EF4-FFF2-40B4-BE49-F238E27FC236}">
                <a16:creationId xmlns:a16="http://schemas.microsoft.com/office/drawing/2014/main" id="{87C244B2-2992-4532-AD0F-B51AB490477B}"/>
              </a:ext>
            </a:extLst>
          </p:cNvPr>
          <p:cNvSpPr>
            <a:spLocks noChangeShapeType="1"/>
          </p:cNvSpPr>
          <p:nvPr/>
        </p:nvSpPr>
        <p:spPr bwMode="auto">
          <a:xfrm>
            <a:off x="8981440" y="2234745"/>
            <a:ext cx="4023360" cy="0"/>
          </a:xfrm>
          <a:prstGeom prst="line">
            <a:avLst/>
          </a:prstGeom>
          <a:noFill/>
          <a:ln w="12700">
            <a:solidFill>
              <a:srgbClr val="87231D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9A5243D-EEFF-4325-8DF0-38868474D4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81440" y="1857968"/>
            <a:ext cx="402336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37" tIns="48895" rIns="99537" bIns="48895" anchor="b"/>
          <a:lstStyle>
            <a:lvl1pPr marL="0" indent="0" algn="ctr">
              <a:buFont typeface="Arial" panose="020B0604020202020204" pitchFamily="34" charset="0"/>
              <a:buNone/>
              <a:defRPr lang="en-US" sz="1800" b="1" i="1" kern="1200" dirty="0" smtClean="0">
                <a:solidFill>
                  <a:srgbClr val="87231D"/>
                </a:solidFill>
                <a:latin typeface="Arial" charset="0"/>
                <a:cs typeface="Arial" charset="0"/>
              </a:defRPr>
            </a:lvl1pPr>
          </a:lstStyle>
          <a:p>
            <a:pPr marL="195570" lvl="0" indent="-195570" algn="ctr" eaLnBrk="0" hangingPunct="0">
              <a:lnSpc>
                <a:spcPts val="1650"/>
              </a:lnSpc>
              <a:spcBef>
                <a:spcPts val="330"/>
              </a:spcBef>
              <a:tabLst>
                <a:tab pos="1131514" algn="l"/>
              </a:tabLst>
            </a:pPr>
            <a:r>
              <a:rPr lang="en-US" b="1" i="1">
                <a:solidFill>
                  <a:srgbClr val="003399"/>
                </a:solidFill>
              </a:rPr>
              <a:t>Column 2 Title</a:t>
            </a:r>
          </a:p>
        </p:txBody>
      </p:sp>
    </p:spTree>
    <p:extLst>
      <p:ext uri="{BB962C8B-B14F-4D97-AF65-F5344CB8AC3E}">
        <p14:creationId xmlns:p14="http://schemas.microsoft.com/office/powerpoint/2010/main" val="27367238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oleObject" Target="../embeddings/oleObject12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27.x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ags" Target="../tags/tag37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9EA8C6"/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12374180"/>
              </p:ext>
            </p:extLst>
          </p:nvPr>
        </p:nvGraphicFramePr>
        <p:xfrm>
          <a:off x="2119" y="159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159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07C616-B1F4-4BF4-B387-EB3D99E64199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" y="0"/>
            <a:ext cx="211667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079618" name="Line 2"/>
          <p:cNvSpPr>
            <a:spLocks noChangeShapeType="1"/>
          </p:cNvSpPr>
          <p:nvPr/>
        </p:nvSpPr>
        <p:spPr bwMode="black">
          <a:xfrm>
            <a:off x="408517" y="914411"/>
            <a:ext cx="12596283" cy="3175"/>
          </a:xfrm>
          <a:prstGeom prst="line">
            <a:avLst/>
          </a:prstGeom>
          <a:noFill/>
          <a:ln w="28575">
            <a:solidFill>
              <a:srgbClr val="273379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400" b="1">
              <a:cs typeface="+mn-cs"/>
            </a:endParaRPr>
          </a:p>
        </p:txBody>
      </p:sp>
      <p:sp>
        <p:nvSpPr>
          <p:cNvPr id="18436" name="Rectangle 4"/>
          <p:cNvSpPr>
            <a:spLocks noGrp="1" noChangeArrowheads="1"/>
          </p:cNvSpPr>
          <p:nvPr>
            <p:ph type="title"/>
          </p:nvPr>
        </p:nvSpPr>
        <p:spPr bwMode="gray">
          <a:xfrm>
            <a:off x="408517" y="448678"/>
            <a:ext cx="12596283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079623" name="Line 7"/>
          <p:cNvSpPr>
            <a:spLocks noChangeShapeType="1"/>
          </p:cNvSpPr>
          <p:nvPr/>
        </p:nvSpPr>
        <p:spPr bwMode="black">
          <a:xfrm>
            <a:off x="408517" y="7011988"/>
            <a:ext cx="12596283" cy="0"/>
          </a:xfrm>
          <a:prstGeom prst="line">
            <a:avLst/>
          </a:prstGeom>
          <a:noFill/>
          <a:ln w="6350">
            <a:solidFill>
              <a:srgbClr val="87231D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400" b="1">
              <a:cs typeface="+mn-cs"/>
            </a:endParaRPr>
          </a:p>
        </p:txBody>
      </p:sp>
      <p:sp>
        <p:nvSpPr>
          <p:cNvPr id="4079621" name="Rectangle 5"/>
          <p:cNvSpPr>
            <a:spLocks noChangeArrowheads="1"/>
          </p:cNvSpPr>
          <p:nvPr/>
        </p:nvSpPr>
        <p:spPr bwMode="gray">
          <a:xfrm>
            <a:off x="12725407" y="7011988"/>
            <a:ext cx="300567" cy="2206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36468" rIns="0" bIns="0"/>
          <a:lstStyle/>
          <a:p>
            <a:pPr algn="r">
              <a:defRPr/>
            </a:pPr>
            <a:fld id="{11513FB7-4599-436D-BA7E-D1A8C0D81F0A}" type="slidenum">
              <a:rPr lang="en-US" altLang="en-US" sz="900">
                <a:solidFill>
                  <a:srgbClr val="87231D"/>
                </a:solidFill>
              </a:rPr>
              <a:pPr algn="r">
                <a:defRPr/>
              </a:pPr>
              <a:t>‹#›</a:t>
            </a:fld>
            <a:endParaRPr lang="en-US" altLang="en-US" sz="900">
              <a:solidFill>
                <a:srgbClr val="87231D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53B08B-BA06-43B9-A023-BF0254EFBF83}"/>
              </a:ext>
            </a:extLst>
          </p:cNvPr>
          <p:cNvSpPr txBox="1"/>
          <p:nvPr/>
        </p:nvSpPr>
        <p:spPr>
          <a:xfrm>
            <a:off x="10609385" y="7232650"/>
            <a:ext cx="3352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baseline="0">
                <a:solidFill>
                  <a:srgbClr val="E84E0E"/>
                </a:solidFill>
                <a:latin typeface="Montserrat" pitchFamily="2" charset="0"/>
              </a:rPr>
              <a:t>CONFIDENTIA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49F5CA4-81F5-89F1-7CEA-AC52E06A0ED1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9" y="228017"/>
            <a:ext cx="4021016" cy="62200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1" r:id="rId2"/>
    <p:sldLayoutId id="2147483714" r:id="rId3"/>
    <p:sldLayoutId id="2147483713" r:id="rId4"/>
    <p:sldLayoutId id="2147483717" r:id="rId5"/>
    <p:sldLayoutId id="2147483715" r:id="rId6"/>
    <p:sldLayoutId id="2147483716" r:id="rId7"/>
    <p:sldLayoutId id="2147483739" r:id="rId8"/>
    <p:sldLayoutId id="2147483740" r:id="rId9"/>
    <p:sldLayoutId id="2147483730" r:id="rId10"/>
    <p:sldLayoutId id="2147483768" r:id="rId11"/>
  </p:sldLayoutIdLst>
  <p:hf sldNum="0" hdr="0" ftr="0" dt="0"/>
  <p:txStyles>
    <p:titleStyle>
      <a:lvl1pPr algn="ctr" defTabSz="887369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73379"/>
          </a:solidFill>
          <a:latin typeface="+mj-lt"/>
          <a:ea typeface="+mj-ea"/>
          <a:cs typeface="+mj-cs"/>
        </a:defRPr>
      </a:lvl1pPr>
      <a:lvl2pPr algn="ctr" defTabSz="887369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Arial" charset="0"/>
          <a:cs typeface="Arial" charset="0"/>
        </a:defRPr>
      </a:lvl2pPr>
      <a:lvl3pPr algn="ctr" defTabSz="887369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Arial" charset="0"/>
          <a:cs typeface="Arial" charset="0"/>
        </a:defRPr>
      </a:lvl3pPr>
      <a:lvl4pPr algn="ctr" defTabSz="887369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Arial" charset="0"/>
          <a:cs typeface="Arial" charset="0"/>
        </a:defRPr>
      </a:lvl4pPr>
      <a:lvl5pPr algn="ctr" defTabSz="887369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Arial" charset="0"/>
          <a:cs typeface="Arial" charset="0"/>
        </a:defRPr>
      </a:lvl5pPr>
      <a:lvl6pPr marL="457178" algn="ctr" defTabSz="887369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Arial" charset="0"/>
          <a:cs typeface="Arial" charset="0"/>
        </a:defRPr>
      </a:lvl6pPr>
      <a:lvl7pPr marL="914355" algn="ctr" defTabSz="887369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Arial" charset="0"/>
          <a:cs typeface="Arial" charset="0"/>
        </a:defRPr>
      </a:lvl7pPr>
      <a:lvl8pPr marL="1371532" algn="ctr" defTabSz="887369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Arial" charset="0"/>
          <a:cs typeface="Arial" charset="0"/>
        </a:defRPr>
      </a:lvl8pPr>
      <a:lvl9pPr marL="1828709" algn="ctr" defTabSz="887369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Arial" charset="0"/>
          <a:cs typeface="Arial" charset="0"/>
        </a:defRPr>
      </a:lvl9pPr>
    </p:titleStyle>
    <p:bodyStyle>
      <a:lvl1pPr marL="230177" indent="-230177" algn="l" defTabSz="887369" rtl="0" eaLnBrk="1" fontAlgn="base" hangingPunct="1">
        <a:spcBef>
          <a:spcPct val="0"/>
        </a:spcBef>
        <a:spcAft>
          <a:spcPct val="0"/>
        </a:spcAft>
        <a:buClr>
          <a:srgbClr val="003399"/>
        </a:buClr>
        <a:buSzPct val="100000"/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65114" indent="-233351" algn="l" defTabSz="887369" rtl="0" eaLnBrk="1" fontAlgn="base" hangingPunct="1">
        <a:spcBef>
          <a:spcPct val="0"/>
        </a:spcBef>
        <a:spcAft>
          <a:spcPct val="0"/>
        </a:spcAft>
        <a:buClr>
          <a:srgbClr val="003399"/>
        </a:buClr>
        <a:buSzPct val="100000"/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682591" indent="-217478" algn="l" defTabSz="887369" rtl="0" eaLnBrk="1" fontAlgn="base" hangingPunct="1">
        <a:spcBef>
          <a:spcPct val="0"/>
        </a:spcBef>
        <a:spcAft>
          <a:spcPct val="0"/>
        </a:spcAft>
        <a:buClr>
          <a:srgbClr val="003399"/>
        </a:buClr>
        <a:buSzPct val="100000"/>
        <a:buFont typeface="Times New Roman" pitchFamily="18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914355" indent="-231764" algn="l" defTabSz="887369" rtl="0" eaLnBrk="1" fontAlgn="base" hangingPunct="1">
        <a:spcBef>
          <a:spcPct val="0"/>
        </a:spcBef>
        <a:spcAft>
          <a:spcPct val="0"/>
        </a:spcAft>
        <a:buClr>
          <a:srgbClr val="003399"/>
        </a:buClr>
        <a:buSzPct val="100000"/>
        <a:buFont typeface="Times New Roman" pitchFamily="18" charset="0"/>
        <a:buChar char="-"/>
        <a:defRPr sz="1600">
          <a:solidFill>
            <a:schemeClr val="tx1"/>
          </a:solidFill>
          <a:latin typeface="+mn-lt"/>
          <a:cs typeface="+mn-cs"/>
        </a:defRPr>
      </a:lvl4pPr>
      <a:lvl5pPr marL="1028649" indent="-114294" algn="l" defTabSz="887369" rtl="0" eaLnBrk="1" fontAlgn="base" hangingPunct="1">
        <a:spcBef>
          <a:spcPct val="0"/>
        </a:spcBef>
        <a:spcAft>
          <a:spcPct val="0"/>
        </a:spcAft>
        <a:buClr>
          <a:srgbClr val="003399"/>
        </a:buClr>
        <a:buSzPct val="100000"/>
        <a:buChar char="•"/>
        <a:defRPr sz="1600">
          <a:solidFill>
            <a:schemeClr val="tx1"/>
          </a:solidFill>
          <a:latin typeface="+mn-lt"/>
          <a:cs typeface="+mn-cs"/>
        </a:defRPr>
      </a:lvl5pPr>
      <a:lvl6pPr marL="1284224" algn="l" defTabSz="887369" rtl="0" eaLnBrk="1" fontAlgn="base" hangingPunct="1">
        <a:spcBef>
          <a:spcPct val="0"/>
        </a:spcBef>
        <a:spcAft>
          <a:spcPct val="0"/>
        </a:spcAft>
        <a:buClr>
          <a:srgbClr val="003399"/>
        </a:buClr>
        <a:buSzPct val="100000"/>
        <a:buChar char="•"/>
        <a:defRPr sz="1700">
          <a:solidFill>
            <a:schemeClr val="tx1"/>
          </a:solidFill>
          <a:latin typeface="+mn-lt"/>
          <a:cs typeface="+mn-cs"/>
        </a:defRPr>
      </a:lvl6pPr>
      <a:lvl7pPr marL="1741402" algn="l" defTabSz="887369" rtl="0" eaLnBrk="1" fontAlgn="base" hangingPunct="1">
        <a:spcBef>
          <a:spcPct val="0"/>
        </a:spcBef>
        <a:spcAft>
          <a:spcPct val="0"/>
        </a:spcAft>
        <a:buClr>
          <a:srgbClr val="003399"/>
        </a:buClr>
        <a:buSzPct val="100000"/>
        <a:buChar char="•"/>
        <a:defRPr sz="1700">
          <a:solidFill>
            <a:schemeClr val="tx1"/>
          </a:solidFill>
          <a:latin typeface="+mn-lt"/>
          <a:cs typeface="+mn-cs"/>
        </a:defRPr>
      </a:lvl7pPr>
      <a:lvl8pPr marL="2198578" algn="l" defTabSz="887369" rtl="0" eaLnBrk="1" fontAlgn="base" hangingPunct="1">
        <a:spcBef>
          <a:spcPct val="0"/>
        </a:spcBef>
        <a:spcAft>
          <a:spcPct val="0"/>
        </a:spcAft>
        <a:buClr>
          <a:srgbClr val="003399"/>
        </a:buClr>
        <a:buSzPct val="100000"/>
        <a:buChar char="•"/>
        <a:defRPr sz="1700">
          <a:solidFill>
            <a:schemeClr val="tx1"/>
          </a:solidFill>
          <a:latin typeface="+mn-lt"/>
          <a:cs typeface="+mn-cs"/>
        </a:defRPr>
      </a:lvl8pPr>
      <a:lvl9pPr marL="2655755" algn="l" defTabSz="887369" rtl="0" eaLnBrk="1" fontAlgn="base" hangingPunct="1">
        <a:spcBef>
          <a:spcPct val="0"/>
        </a:spcBef>
        <a:spcAft>
          <a:spcPct val="0"/>
        </a:spcAft>
        <a:buClr>
          <a:srgbClr val="003399"/>
        </a:buClr>
        <a:buSzPct val="100000"/>
        <a:buChar char="•"/>
        <a:defRPr sz="17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76" userDrawn="1">
          <p15:clr>
            <a:srgbClr val="F26B43"/>
          </p15:clr>
        </p15:guide>
        <p15:guide id="2" pos="422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9EA8C6"/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A68716D-6344-40A8-A5DF-7F5175A1C9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5637099"/>
              </p:ext>
            </p:extLst>
          </p:nvPr>
        </p:nvGraphicFramePr>
        <p:xfrm>
          <a:off x="2120" y="1588"/>
          <a:ext cx="211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44" imgH="443" progId="TCLayout.ActiveDocument.1">
                  <p:embed/>
                </p:oleObj>
              </mc:Choice>
              <mc:Fallback>
                <p:oleObj name="think-cell Slide" r:id="rId12" imgW="444" imgH="44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A68716D-6344-40A8-A5DF-7F5175A1C9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Google Shape;6;p41"/>
          <p:cNvCxnSpPr/>
          <p:nvPr/>
        </p:nvCxnSpPr>
        <p:spPr>
          <a:xfrm>
            <a:off x="408518" y="914403"/>
            <a:ext cx="12596283" cy="3175"/>
          </a:xfrm>
          <a:prstGeom prst="straightConnector1">
            <a:avLst/>
          </a:prstGeom>
          <a:noFill/>
          <a:ln w="28575" cap="flat" cmpd="sng">
            <a:solidFill>
              <a:srgbClr val="00339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" name="Google Shape;7;p41"/>
          <p:cNvSpPr txBox="1">
            <a:spLocks noGrp="1"/>
          </p:cNvSpPr>
          <p:nvPr>
            <p:ph type="title"/>
          </p:nvPr>
        </p:nvSpPr>
        <p:spPr>
          <a:xfrm>
            <a:off x="408518" y="457204"/>
            <a:ext cx="12596283" cy="442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8225" anchor="b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rgbClr val="0033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rgbClr val="0033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rgbClr val="0033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rgbClr val="0033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rgbClr val="0033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rgbClr val="0033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rgbClr val="0033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rgbClr val="0033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rgbClr val="0033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8" name="Google Shape;8;p41"/>
          <p:cNvCxnSpPr/>
          <p:nvPr/>
        </p:nvCxnSpPr>
        <p:spPr>
          <a:xfrm>
            <a:off x="408518" y="7011989"/>
            <a:ext cx="12596283" cy="0"/>
          </a:xfrm>
          <a:prstGeom prst="straightConnector1">
            <a:avLst/>
          </a:prstGeom>
          <a:noFill/>
          <a:ln w="9525" cap="flat" cmpd="sng">
            <a:solidFill>
              <a:srgbClr val="00339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" name="Google Shape;9;p41"/>
          <p:cNvSpPr/>
          <p:nvPr/>
        </p:nvSpPr>
        <p:spPr>
          <a:xfrm>
            <a:off x="12725404" y="7011988"/>
            <a:ext cx="300567" cy="220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45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US" sz="900" b="0" i="0" u="none" strike="noStrike" cap="none">
                <a:solidFill>
                  <a:srgbClr val="003399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900" b="0" i="0" u="none" strike="noStrike" cap="none">
              <a:solidFill>
                <a:srgbClr val="0033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41"/>
          <p:cNvSpPr txBox="1"/>
          <p:nvPr/>
        </p:nvSpPr>
        <p:spPr>
          <a:xfrm>
            <a:off x="10593754" y="7086596"/>
            <a:ext cx="3352800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baseline="0">
                <a:solidFill>
                  <a:srgbClr val="E84E0E"/>
                </a:solidFill>
                <a:latin typeface="Montserrat" pitchFamily="2" charset="0"/>
                <a:ea typeface="Arial"/>
                <a:cs typeface="Arial"/>
                <a:sym typeface="Arial"/>
              </a:rPr>
              <a:t>CONFIDENTIAL</a:t>
            </a:r>
            <a:endParaRPr sz="1400" b="0" i="0" u="none" strike="noStrike" cap="none" baseline="0">
              <a:solidFill>
                <a:srgbClr val="E84E0E"/>
              </a:solidFill>
              <a:latin typeface="Montserrat" pitchFamily="2" charset="0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5398176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2" r:id="rId6"/>
    <p:sldLayoutId id="2147483813" r:id="rId7"/>
    <p:sldLayoutId id="2147483814" r:id="rId8"/>
    <p:sldLayoutId id="2147483815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76">
          <p15:clr>
            <a:srgbClr val="F26B43"/>
          </p15:clr>
        </p15:guide>
        <p15:guide id="2" pos="422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9EA8C6"/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12374180"/>
              </p:ext>
            </p:extLst>
          </p:nvPr>
        </p:nvGraphicFramePr>
        <p:xfrm>
          <a:off x="2119" y="160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160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07C616-B1F4-4BF4-B387-EB3D99E64199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" y="0"/>
            <a:ext cx="211668" cy="1587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69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079618" name="Line 2"/>
          <p:cNvSpPr>
            <a:spLocks noChangeShapeType="1"/>
          </p:cNvSpPr>
          <p:nvPr/>
        </p:nvSpPr>
        <p:spPr bwMode="black">
          <a:xfrm>
            <a:off x="408518" y="914411"/>
            <a:ext cx="12596283" cy="3175"/>
          </a:xfrm>
          <a:prstGeom prst="line">
            <a:avLst/>
          </a:prstGeom>
          <a:noFill/>
          <a:ln w="28575">
            <a:solidFill>
              <a:srgbClr val="273379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400" b="1">
              <a:cs typeface="+mn-cs"/>
            </a:endParaRPr>
          </a:p>
        </p:txBody>
      </p:sp>
      <p:sp>
        <p:nvSpPr>
          <p:cNvPr id="18436" name="Rectangle 4"/>
          <p:cNvSpPr>
            <a:spLocks noGrp="1" noChangeArrowheads="1"/>
          </p:cNvSpPr>
          <p:nvPr>
            <p:ph type="title"/>
          </p:nvPr>
        </p:nvSpPr>
        <p:spPr bwMode="gray">
          <a:xfrm>
            <a:off x="408518" y="448679"/>
            <a:ext cx="12596283" cy="44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18241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079623" name="Line 7"/>
          <p:cNvSpPr>
            <a:spLocks noChangeShapeType="1"/>
          </p:cNvSpPr>
          <p:nvPr/>
        </p:nvSpPr>
        <p:spPr bwMode="black">
          <a:xfrm>
            <a:off x="408518" y="7011989"/>
            <a:ext cx="12596283" cy="0"/>
          </a:xfrm>
          <a:prstGeom prst="line">
            <a:avLst/>
          </a:prstGeom>
          <a:noFill/>
          <a:ln w="6350">
            <a:solidFill>
              <a:srgbClr val="87231D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400" b="1">
              <a:cs typeface="+mn-cs"/>
            </a:endParaRPr>
          </a:p>
        </p:txBody>
      </p:sp>
      <p:sp>
        <p:nvSpPr>
          <p:cNvPr id="4079621" name="Rectangle 5"/>
          <p:cNvSpPr>
            <a:spLocks noChangeArrowheads="1"/>
          </p:cNvSpPr>
          <p:nvPr/>
        </p:nvSpPr>
        <p:spPr bwMode="gray">
          <a:xfrm>
            <a:off x="12725408" y="7011988"/>
            <a:ext cx="300567" cy="2206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36468" rIns="0" bIns="0"/>
          <a:lstStyle/>
          <a:p>
            <a:pPr algn="r">
              <a:defRPr/>
            </a:pPr>
            <a:fld id="{11513FB7-4599-436D-BA7E-D1A8C0D81F0A}" type="slidenum">
              <a:rPr lang="en-US" altLang="en-US" sz="900">
                <a:solidFill>
                  <a:srgbClr val="87231D"/>
                </a:solidFill>
              </a:rPr>
              <a:pPr algn="r">
                <a:defRPr/>
              </a:pPr>
              <a:t>‹#›</a:t>
            </a:fld>
            <a:endParaRPr lang="en-US" altLang="en-US" sz="900">
              <a:solidFill>
                <a:srgbClr val="87231D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53B08B-BA06-43B9-A023-BF0254EFBF83}"/>
              </a:ext>
            </a:extLst>
          </p:cNvPr>
          <p:cNvSpPr txBox="1"/>
          <p:nvPr/>
        </p:nvSpPr>
        <p:spPr>
          <a:xfrm>
            <a:off x="10609385" y="7232650"/>
            <a:ext cx="3352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baseline="0">
                <a:solidFill>
                  <a:srgbClr val="E84E0E"/>
                </a:solidFill>
                <a:latin typeface="Montserrat" pitchFamily="2" charset="0"/>
              </a:rPr>
              <a:t>CONFIDENTIA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49F5CA4-81F5-89F1-7CEA-AC52E06A0ED1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228018"/>
            <a:ext cx="4021016" cy="622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583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</p:sldLayoutIdLst>
  <p:hf sldNum="0" hdr="0" ftr="0" dt="0"/>
  <p:txStyles>
    <p:titleStyle>
      <a:lvl1pPr algn="ctr" defTabSz="887378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73379"/>
          </a:solidFill>
          <a:latin typeface="+mj-lt"/>
          <a:ea typeface="+mj-ea"/>
          <a:cs typeface="+mj-cs"/>
        </a:defRPr>
      </a:lvl1pPr>
      <a:lvl2pPr algn="ctr" defTabSz="887378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Arial" charset="0"/>
          <a:cs typeface="Arial" charset="0"/>
        </a:defRPr>
      </a:lvl2pPr>
      <a:lvl3pPr algn="ctr" defTabSz="887378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Arial" charset="0"/>
          <a:cs typeface="Arial" charset="0"/>
        </a:defRPr>
      </a:lvl3pPr>
      <a:lvl4pPr algn="ctr" defTabSz="887378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Arial" charset="0"/>
          <a:cs typeface="Arial" charset="0"/>
        </a:defRPr>
      </a:lvl4pPr>
      <a:lvl5pPr algn="ctr" defTabSz="887378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Arial" charset="0"/>
          <a:cs typeface="Arial" charset="0"/>
        </a:defRPr>
      </a:lvl5pPr>
      <a:lvl6pPr marL="457183" algn="ctr" defTabSz="887378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Arial" charset="0"/>
          <a:cs typeface="Arial" charset="0"/>
        </a:defRPr>
      </a:lvl6pPr>
      <a:lvl7pPr marL="914364" algn="ctr" defTabSz="887378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Arial" charset="0"/>
          <a:cs typeface="Arial" charset="0"/>
        </a:defRPr>
      </a:lvl7pPr>
      <a:lvl8pPr marL="1371546" algn="ctr" defTabSz="887378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Arial" charset="0"/>
          <a:cs typeface="Arial" charset="0"/>
        </a:defRPr>
      </a:lvl8pPr>
      <a:lvl9pPr marL="1828727" algn="ctr" defTabSz="887378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Arial" charset="0"/>
          <a:cs typeface="Arial" charset="0"/>
        </a:defRPr>
      </a:lvl9pPr>
    </p:titleStyle>
    <p:bodyStyle>
      <a:lvl1pPr marL="230179" indent="-230179" algn="l" defTabSz="887378" rtl="0" eaLnBrk="1" fontAlgn="base" hangingPunct="1">
        <a:spcBef>
          <a:spcPct val="0"/>
        </a:spcBef>
        <a:spcAft>
          <a:spcPct val="0"/>
        </a:spcAft>
        <a:buClr>
          <a:srgbClr val="003399"/>
        </a:buClr>
        <a:buSzPct val="100000"/>
        <a:buFont typeface="Wingdings" pitchFamily="2" charset="2"/>
        <a:buChar char="n"/>
        <a:defRPr sz="1601">
          <a:solidFill>
            <a:schemeClr val="tx1"/>
          </a:solidFill>
          <a:latin typeface="+mn-lt"/>
          <a:ea typeface="+mn-ea"/>
          <a:cs typeface="+mn-cs"/>
        </a:defRPr>
      </a:lvl1pPr>
      <a:lvl2pPr marL="465119" indent="-233353" algn="l" defTabSz="887378" rtl="0" eaLnBrk="1" fontAlgn="base" hangingPunct="1">
        <a:spcBef>
          <a:spcPct val="0"/>
        </a:spcBef>
        <a:spcAft>
          <a:spcPct val="0"/>
        </a:spcAft>
        <a:buClr>
          <a:srgbClr val="003399"/>
        </a:buClr>
        <a:buSzPct val="100000"/>
        <a:buChar char="•"/>
        <a:defRPr sz="1601">
          <a:solidFill>
            <a:schemeClr val="tx1"/>
          </a:solidFill>
          <a:latin typeface="+mn-lt"/>
          <a:cs typeface="+mn-cs"/>
        </a:defRPr>
      </a:lvl2pPr>
      <a:lvl3pPr marL="682597" indent="-217480" algn="l" defTabSz="887378" rtl="0" eaLnBrk="1" fontAlgn="base" hangingPunct="1">
        <a:spcBef>
          <a:spcPct val="0"/>
        </a:spcBef>
        <a:spcAft>
          <a:spcPct val="0"/>
        </a:spcAft>
        <a:buClr>
          <a:srgbClr val="003399"/>
        </a:buClr>
        <a:buSzPct val="100000"/>
        <a:buFont typeface="Times New Roman" pitchFamily="18" charset="0"/>
        <a:buChar char="–"/>
        <a:defRPr sz="1601">
          <a:solidFill>
            <a:schemeClr val="tx1"/>
          </a:solidFill>
          <a:latin typeface="+mn-lt"/>
          <a:cs typeface="+mn-cs"/>
        </a:defRPr>
      </a:lvl3pPr>
      <a:lvl4pPr marL="914364" indent="-231767" algn="l" defTabSz="887378" rtl="0" eaLnBrk="1" fontAlgn="base" hangingPunct="1">
        <a:spcBef>
          <a:spcPct val="0"/>
        </a:spcBef>
        <a:spcAft>
          <a:spcPct val="0"/>
        </a:spcAft>
        <a:buClr>
          <a:srgbClr val="003399"/>
        </a:buClr>
        <a:buSzPct val="100000"/>
        <a:buFont typeface="Times New Roman" pitchFamily="18" charset="0"/>
        <a:buChar char="-"/>
        <a:defRPr sz="1601">
          <a:solidFill>
            <a:schemeClr val="tx1"/>
          </a:solidFill>
          <a:latin typeface="+mn-lt"/>
          <a:cs typeface="+mn-cs"/>
        </a:defRPr>
      </a:lvl4pPr>
      <a:lvl5pPr marL="1028660" indent="-114296" algn="l" defTabSz="887378" rtl="0" eaLnBrk="1" fontAlgn="base" hangingPunct="1">
        <a:spcBef>
          <a:spcPct val="0"/>
        </a:spcBef>
        <a:spcAft>
          <a:spcPct val="0"/>
        </a:spcAft>
        <a:buClr>
          <a:srgbClr val="003399"/>
        </a:buClr>
        <a:buSzPct val="100000"/>
        <a:buChar char="•"/>
        <a:defRPr sz="1601">
          <a:solidFill>
            <a:schemeClr val="tx1"/>
          </a:solidFill>
          <a:latin typeface="+mn-lt"/>
          <a:cs typeface="+mn-cs"/>
        </a:defRPr>
      </a:lvl5pPr>
      <a:lvl6pPr marL="1284237" algn="l" defTabSz="887378" rtl="0" eaLnBrk="1" fontAlgn="base" hangingPunct="1">
        <a:spcBef>
          <a:spcPct val="0"/>
        </a:spcBef>
        <a:spcAft>
          <a:spcPct val="0"/>
        </a:spcAft>
        <a:buClr>
          <a:srgbClr val="003399"/>
        </a:buClr>
        <a:buSzPct val="100000"/>
        <a:buChar char="•"/>
        <a:defRPr sz="1700">
          <a:solidFill>
            <a:schemeClr val="tx1"/>
          </a:solidFill>
          <a:latin typeface="+mn-lt"/>
          <a:cs typeface="+mn-cs"/>
        </a:defRPr>
      </a:lvl6pPr>
      <a:lvl7pPr marL="1741420" algn="l" defTabSz="887378" rtl="0" eaLnBrk="1" fontAlgn="base" hangingPunct="1">
        <a:spcBef>
          <a:spcPct val="0"/>
        </a:spcBef>
        <a:spcAft>
          <a:spcPct val="0"/>
        </a:spcAft>
        <a:buClr>
          <a:srgbClr val="003399"/>
        </a:buClr>
        <a:buSzPct val="100000"/>
        <a:buChar char="•"/>
        <a:defRPr sz="1700">
          <a:solidFill>
            <a:schemeClr val="tx1"/>
          </a:solidFill>
          <a:latin typeface="+mn-lt"/>
          <a:cs typeface="+mn-cs"/>
        </a:defRPr>
      </a:lvl7pPr>
      <a:lvl8pPr marL="2198600" algn="l" defTabSz="887378" rtl="0" eaLnBrk="1" fontAlgn="base" hangingPunct="1">
        <a:spcBef>
          <a:spcPct val="0"/>
        </a:spcBef>
        <a:spcAft>
          <a:spcPct val="0"/>
        </a:spcAft>
        <a:buClr>
          <a:srgbClr val="003399"/>
        </a:buClr>
        <a:buSzPct val="100000"/>
        <a:buChar char="•"/>
        <a:defRPr sz="1700">
          <a:solidFill>
            <a:schemeClr val="tx1"/>
          </a:solidFill>
          <a:latin typeface="+mn-lt"/>
          <a:cs typeface="+mn-cs"/>
        </a:defRPr>
      </a:lvl8pPr>
      <a:lvl9pPr marL="2655782" algn="l" defTabSz="887378" rtl="0" eaLnBrk="1" fontAlgn="base" hangingPunct="1">
        <a:spcBef>
          <a:spcPct val="0"/>
        </a:spcBef>
        <a:spcAft>
          <a:spcPct val="0"/>
        </a:spcAft>
        <a:buClr>
          <a:srgbClr val="003399"/>
        </a:buClr>
        <a:buSzPct val="100000"/>
        <a:buChar char="•"/>
        <a:defRPr sz="17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4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6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1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5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76">
          <p15:clr>
            <a:srgbClr val="F26B43"/>
          </p15:clr>
        </p15:guide>
        <p15:guide id="2" pos="42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18" Type="http://schemas.openxmlformats.org/officeDocument/2006/relationships/image" Target="../media/image20.png"/><Relationship Id="rId26" Type="http://schemas.openxmlformats.org/officeDocument/2006/relationships/image" Target="../media/image28.jpeg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23.svg"/><Relationship Id="rId7" Type="http://schemas.openxmlformats.org/officeDocument/2006/relationships/image" Target="../media/image9.jpeg"/><Relationship Id="rId12" Type="http://schemas.openxmlformats.org/officeDocument/2006/relationships/image" Target="../media/image14.png"/><Relationship Id="rId17" Type="http://schemas.openxmlformats.org/officeDocument/2006/relationships/image" Target="../media/image19.svg"/><Relationship Id="rId25" Type="http://schemas.openxmlformats.org/officeDocument/2006/relationships/image" Target="../media/image27.sv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29" Type="http://schemas.openxmlformats.org/officeDocument/2006/relationships/image" Target="../media/image31.png"/><Relationship Id="rId1" Type="http://schemas.openxmlformats.org/officeDocument/2006/relationships/tags" Target="../tags/tag62.xml"/><Relationship Id="rId6" Type="http://schemas.openxmlformats.org/officeDocument/2006/relationships/image" Target="../media/image1.emf"/><Relationship Id="rId11" Type="http://schemas.openxmlformats.org/officeDocument/2006/relationships/image" Target="../media/image13.svg"/><Relationship Id="rId24" Type="http://schemas.openxmlformats.org/officeDocument/2006/relationships/image" Target="../media/image26.png"/><Relationship Id="rId5" Type="http://schemas.openxmlformats.org/officeDocument/2006/relationships/oleObject" Target="../embeddings/oleObject16.bin"/><Relationship Id="rId15" Type="http://schemas.openxmlformats.org/officeDocument/2006/relationships/image" Target="../media/image17.svg"/><Relationship Id="rId23" Type="http://schemas.openxmlformats.org/officeDocument/2006/relationships/image" Target="../media/image25.svg"/><Relationship Id="rId28" Type="http://schemas.openxmlformats.org/officeDocument/2006/relationships/image" Target="../media/image30.png"/><Relationship Id="rId10" Type="http://schemas.openxmlformats.org/officeDocument/2006/relationships/image" Target="../media/image12.png"/><Relationship Id="rId19" Type="http://schemas.openxmlformats.org/officeDocument/2006/relationships/image" Target="../media/image21.svg"/><Relationship Id="rId4" Type="http://schemas.openxmlformats.org/officeDocument/2006/relationships/image" Target="../media/image8.jpeg"/><Relationship Id="rId9" Type="http://schemas.openxmlformats.org/officeDocument/2006/relationships/image" Target="../media/image11.png"/><Relationship Id="rId14" Type="http://schemas.openxmlformats.org/officeDocument/2006/relationships/image" Target="../media/image16.png"/><Relationship Id="rId22" Type="http://schemas.openxmlformats.org/officeDocument/2006/relationships/image" Target="../media/image24.png"/><Relationship Id="rId27" Type="http://schemas.openxmlformats.org/officeDocument/2006/relationships/image" Target="../media/image29.png"/><Relationship Id="rId30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3.emf"/><Relationship Id="rId18" Type="http://schemas.openxmlformats.org/officeDocument/2006/relationships/image" Target="../media/image38.png"/><Relationship Id="rId26" Type="http://schemas.openxmlformats.org/officeDocument/2006/relationships/image" Target="../media/image44.png"/><Relationship Id="rId3" Type="http://schemas.openxmlformats.org/officeDocument/2006/relationships/tags" Target="../tags/tag65.xml"/><Relationship Id="rId21" Type="http://schemas.openxmlformats.org/officeDocument/2006/relationships/image" Target="../media/image32.png"/><Relationship Id="rId34" Type="http://schemas.openxmlformats.org/officeDocument/2006/relationships/image" Target="../media/image52.jpeg"/><Relationship Id="rId7" Type="http://schemas.openxmlformats.org/officeDocument/2006/relationships/tags" Target="../tags/tag69.xml"/><Relationship Id="rId12" Type="http://schemas.openxmlformats.org/officeDocument/2006/relationships/oleObject" Target="../embeddings/oleObject17.bin"/><Relationship Id="rId17" Type="http://schemas.openxmlformats.org/officeDocument/2006/relationships/image" Target="../media/image37.jpg"/><Relationship Id="rId25" Type="http://schemas.openxmlformats.org/officeDocument/2006/relationships/image" Target="../media/image43.png"/><Relationship Id="rId33" Type="http://schemas.openxmlformats.org/officeDocument/2006/relationships/image" Target="../media/image51.png"/><Relationship Id="rId2" Type="http://schemas.openxmlformats.org/officeDocument/2006/relationships/tags" Target="../tags/tag64.xml"/><Relationship Id="rId16" Type="http://schemas.openxmlformats.org/officeDocument/2006/relationships/image" Target="../media/image36.JPG"/><Relationship Id="rId20" Type="http://schemas.openxmlformats.org/officeDocument/2006/relationships/image" Target="../media/image31.png"/><Relationship Id="rId29" Type="http://schemas.openxmlformats.org/officeDocument/2006/relationships/image" Target="../media/image47.jpg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notesSlide" Target="../notesSlides/notesSlide2.xml"/><Relationship Id="rId24" Type="http://schemas.openxmlformats.org/officeDocument/2006/relationships/image" Target="../media/image42.png"/><Relationship Id="rId32" Type="http://schemas.openxmlformats.org/officeDocument/2006/relationships/image" Target="../media/image50.jpg"/><Relationship Id="rId5" Type="http://schemas.openxmlformats.org/officeDocument/2006/relationships/tags" Target="../tags/tag67.xml"/><Relationship Id="rId15" Type="http://schemas.openxmlformats.org/officeDocument/2006/relationships/image" Target="../media/image35.png"/><Relationship Id="rId23" Type="http://schemas.openxmlformats.org/officeDocument/2006/relationships/image" Target="../media/image41.png"/><Relationship Id="rId28" Type="http://schemas.openxmlformats.org/officeDocument/2006/relationships/image" Target="../media/image46.jpg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39.jpg"/><Relationship Id="rId31" Type="http://schemas.openxmlformats.org/officeDocument/2006/relationships/image" Target="../media/image49.png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image" Target="../media/image34.jpg"/><Relationship Id="rId22" Type="http://schemas.openxmlformats.org/officeDocument/2006/relationships/image" Target="../media/image40.png"/><Relationship Id="rId27" Type="http://schemas.openxmlformats.org/officeDocument/2006/relationships/image" Target="../media/image45.jpeg"/><Relationship Id="rId30" Type="http://schemas.openxmlformats.org/officeDocument/2006/relationships/image" Target="../media/image48.png"/><Relationship Id="rId35" Type="http://schemas.openxmlformats.org/officeDocument/2006/relationships/image" Target="../media/image53.png"/><Relationship Id="rId8" Type="http://schemas.openxmlformats.org/officeDocument/2006/relationships/tags" Target="../tags/tag7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13" Type="http://schemas.openxmlformats.org/officeDocument/2006/relationships/image" Target="../media/image12.png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image" Target="../media/image56.svg"/><Relationship Id="rId2" Type="http://schemas.openxmlformats.org/officeDocument/2006/relationships/tags" Target="../tags/tag73.xml"/><Relationship Id="rId16" Type="http://schemas.openxmlformats.org/officeDocument/2006/relationships/image" Target="../media/image58.svg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image" Target="../media/image55.png"/><Relationship Id="rId5" Type="http://schemas.openxmlformats.org/officeDocument/2006/relationships/tags" Target="../tags/tag76.xml"/><Relationship Id="rId15" Type="http://schemas.openxmlformats.org/officeDocument/2006/relationships/image" Target="../media/image57.png"/><Relationship Id="rId10" Type="http://schemas.openxmlformats.org/officeDocument/2006/relationships/image" Target="../media/image54.emf"/><Relationship Id="rId4" Type="http://schemas.openxmlformats.org/officeDocument/2006/relationships/tags" Target="../tags/tag75.xml"/><Relationship Id="rId9" Type="http://schemas.openxmlformats.org/officeDocument/2006/relationships/oleObject" Target="../embeddings/oleObject18.bin"/><Relationship Id="rId14" Type="http://schemas.openxmlformats.org/officeDocument/2006/relationships/image" Target="../media/image13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jpeg"/><Relationship Id="rId13" Type="http://schemas.openxmlformats.org/officeDocument/2006/relationships/image" Target="../media/image70.jpeg"/><Relationship Id="rId18" Type="http://schemas.openxmlformats.org/officeDocument/2006/relationships/image" Target="../media/image74.jpeg"/><Relationship Id="rId3" Type="http://schemas.openxmlformats.org/officeDocument/2006/relationships/image" Target="../media/image60.jpeg"/><Relationship Id="rId21" Type="http://schemas.openxmlformats.org/officeDocument/2006/relationships/image" Target="../media/image77.jpeg"/><Relationship Id="rId7" Type="http://schemas.openxmlformats.org/officeDocument/2006/relationships/image" Target="../media/image64.png"/><Relationship Id="rId12" Type="http://schemas.openxmlformats.org/officeDocument/2006/relationships/image" Target="../media/image69.jpeg"/><Relationship Id="rId17" Type="http://schemas.openxmlformats.org/officeDocument/2006/relationships/image" Target="../media/image53.png"/><Relationship Id="rId2" Type="http://schemas.openxmlformats.org/officeDocument/2006/relationships/image" Target="../media/image59.jpeg"/><Relationship Id="rId16" Type="http://schemas.openxmlformats.org/officeDocument/2006/relationships/image" Target="../media/image73.png"/><Relationship Id="rId20" Type="http://schemas.openxmlformats.org/officeDocument/2006/relationships/image" Target="../media/image7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jpeg"/><Relationship Id="rId11" Type="http://schemas.openxmlformats.org/officeDocument/2006/relationships/image" Target="../media/image68.jpeg"/><Relationship Id="rId24" Type="http://schemas.openxmlformats.org/officeDocument/2006/relationships/image" Target="../media/image80.jpeg"/><Relationship Id="rId5" Type="http://schemas.openxmlformats.org/officeDocument/2006/relationships/image" Target="../media/image62.jpeg"/><Relationship Id="rId15" Type="http://schemas.openxmlformats.org/officeDocument/2006/relationships/image" Target="../media/image72.jpeg"/><Relationship Id="rId23" Type="http://schemas.openxmlformats.org/officeDocument/2006/relationships/image" Target="../media/image79.jpeg"/><Relationship Id="rId10" Type="http://schemas.openxmlformats.org/officeDocument/2006/relationships/image" Target="../media/image67.jpeg"/><Relationship Id="rId19" Type="http://schemas.openxmlformats.org/officeDocument/2006/relationships/image" Target="../media/image75.jpeg"/><Relationship Id="rId4" Type="http://schemas.openxmlformats.org/officeDocument/2006/relationships/image" Target="../media/image61.jpeg"/><Relationship Id="rId9" Type="http://schemas.openxmlformats.org/officeDocument/2006/relationships/image" Target="../media/image66.jpeg"/><Relationship Id="rId14" Type="http://schemas.openxmlformats.org/officeDocument/2006/relationships/image" Target="../media/image71.jpeg"/><Relationship Id="rId22" Type="http://schemas.openxmlformats.org/officeDocument/2006/relationships/image" Target="../media/image7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82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9.xml"/><Relationship Id="rId6" Type="http://schemas.openxmlformats.org/officeDocument/2006/relationships/image" Target="../media/image81.jpe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1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57C770-11FA-0AE4-619F-42B69FDF13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AE1E5C-4030-1EB3-4CFA-5F6603AB2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884F271-76DE-C5F2-1514-7E8B7D8CE2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3411200" cy="7543800"/>
          </a:xfrm>
          <a:prstGeom prst="rect">
            <a:avLst/>
          </a:prstGeom>
          <a:ln w="69850">
            <a:solidFill>
              <a:srgbClr val="E84E0E"/>
            </a:solidFill>
          </a:ln>
        </p:spPr>
      </p:pic>
    </p:spTree>
    <p:extLst>
      <p:ext uri="{BB962C8B-B14F-4D97-AF65-F5344CB8AC3E}">
        <p14:creationId xmlns:p14="http://schemas.microsoft.com/office/powerpoint/2010/main" val="2164152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DF138-E601-7B3F-0CDB-C9246EEC07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C1FE02-52DA-FFE9-5E49-4C872C801B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BAAC59-15CA-7998-2096-D379A24533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671E9A1-DB20-CD4E-0620-DD6D076E07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3411200" cy="7543800"/>
          </a:xfrm>
          <a:prstGeom prst="rect">
            <a:avLst/>
          </a:prstGeom>
          <a:ln w="69850">
            <a:solidFill>
              <a:srgbClr val="E84E0E"/>
            </a:solidFill>
          </a:ln>
        </p:spPr>
      </p:pic>
    </p:spTree>
    <p:extLst>
      <p:ext uri="{BB962C8B-B14F-4D97-AF65-F5344CB8AC3E}">
        <p14:creationId xmlns:p14="http://schemas.microsoft.com/office/powerpoint/2010/main" val="660424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697B84-8D89-CD39-3BE3-898EF8CE30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9" name="Picture 228">
            <a:extLst>
              <a:ext uri="{FF2B5EF4-FFF2-40B4-BE49-F238E27FC236}">
                <a16:creationId xmlns:a16="http://schemas.microsoft.com/office/drawing/2014/main" id="{1D576964-773E-8B9A-CDA9-7AA7A5223E2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70175" y="2005606"/>
            <a:ext cx="9860380" cy="3989728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A36A5C-E42D-55FA-19AA-A4BC5B5969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779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779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7" name="Group 86">
            <a:extLst>
              <a:ext uri="{FF2B5EF4-FFF2-40B4-BE49-F238E27FC236}">
                <a16:creationId xmlns:a16="http://schemas.microsoft.com/office/drawing/2014/main" id="{39DFFF34-905E-E303-D74E-23A729007752}"/>
              </a:ext>
            </a:extLst>
          </p:cNvPr>
          <p:cNvGrpSpPr/>
          <p:nvPr/>
        </p:nvGrpSpPr>
        <p:grpSpPr>
          <a:xfrm>
            <a:off x="104176" y="2066067"/>
            <a:ext cx="4566860" cy="1422915"/>
            <a:chOff x="6529836" y="2112754"/>
            <a:chExt cx="3226039" cy="1422915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2140F82-30B8-0469-3D17-0E2EA59FB529}"/>
                </a:ext>
              </a:extLst>
            </p:cNvPr>
            <p:cNvSpPr/>
            <p:nvPr/>
          </p:nvSpPr>
          <p:spPr>
            <a:xfrm>
              <a:off x="6529838" y="2378570"/>
              <a:ext cx="3226037" cy="115709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E84E0E"/>
              </a:solidFill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72000" tIns="45720" rIns="91440" bIns="45720" rtlCol="0" anchor="ctr"/>
            <a:lstStyle/>
            <a:p>
              <a:pPr marL="117440" indent="-117440" defTabSz="806197">
                <a:buClr>
                  <a:srgbClr val="003399"/>
                </a:buClr>
                <a:buSzPct val="100000"/>
                <a:buFontTx/>
                <a:buChar char="•"/>
                <a:defRPr/>
              </a:pPr>
              <a:r>
                <a:rPr lang="en-US" sz="1000" b="1" kern="0">
                  <a:solidFill>
                    <a:srgbClr val="273379"/>
                  </a:solidFill>
                  <a:latin typeface="Montserrat" pitchFamily="2" charset="0"/>
                  <a:ea typeface="Source Sans Pro Light"/>
                  <a:sym typeface="Arial"/>
                </a:rPr>
                <a:t>100,000 Sq. Ft. Facility</a:t>
              </a:r>
            </a:p>
            <a:p>
              <a:pPr marL="117440" indent="-117440" defTabSz="806197">
                <a:buClr>
                  <a:srgbClr val="003399"/>
                </a:buClr>
                <a:buSzPct val="100000"/>
                <a:buFontTx/>
                <a:buChar char="•"/>
                <a:defRPr/>
              </a:pPr>
              <a:r>
                <a:rPr lang="en-US" sz="1000" b="1" kern="0">
                  <a:solidFill>
                    <a:srgbClr val="273379"/>
                  </a:solidFill>
                  <a:latin typeface="Montserrat" pitchFamily="2" charset="0"/>
                  <a:sym typeface="Arial"/>
                </a:rPr>
                <a:t>High Volume, Low Mix PCBA</a:t>
              </a:r>
            </a:p>
            <a:p>
              <a:pPr marL="117440" indent="-117440" defTabSz="806197">
                <a:buClr>
                  <a:srgbClr val="003399"/>
                </a:buClr>
                <a:buSzPct val="100000"/>
                <a:buFontTx/>
                <a:buChar char="•"/>
                <a:defRPr/>
              </a:pPr>
              <a:r>
                <a:rPr lang="en-US" sz="1000" b="1" kern="0">
                  <a:solidFill>
                    <a:srgbClr val="273379"/>
                  </a:solidFill>
                  <a:latin typeface="Montserrat" pitchFamily="2" charset="0"/>
                  <a:sym typeface="Arial"/>
                </a:rPr>
                <a:t>4 Fully Automated SMT Production Lines</a:t>
              </a:r>
            </a:p>
            <a:p>
              <a:pPr marL="117440" indent="-117440" defTabSz="806197">
                <a:buClr>
                  <a:srgbClr val="003399"/>
                </a:buClr>
                <a:buSzPct val="100000"/>
                <a:buFontTx/>
                <a:buChar char="•"/>
                <a:defRPr/>
              </a:pPr>
              <a:r>
                <a:rPr lang="en-US" sz="1000" b="1" kern="0">
                  <a:solidFill>
                    <a:srgbClr val="273379"/>
                  </a:solidFill>
                  <a:latin typeface="Montserrat" pitchFamily="2" charset="0"/>
                  <a:sym typeface="Arial"/>
                </a:rPr>
                <a:t>Box Build Work Cells</a:t>
              </a:r>
            </a:p>
            <a:p>
              <a:pPr marL="117440" indent="-117440" defTabSz="806197">
                <a:buClr>
                  <a:srgbClr val="003399"/>
                </a:buClr>
                <a:buSzPct val="100000"/>
                <a:buFontTx/>
                <a:buChar char="•"/>
                <a:defRPr/>
              </a:pPr>
              <a:r>
                <a:rPr lang="en-US" sz="1000" b="1" kern="0">
                  <a:solidFill>
                    <a:srgbClr val="273379"/>
                  </a:solidFill>
                  <a:latin typeface="Montserrat" pitchFamily="2" charset="0"/>
                  <a:sym typeface="Arial"/>
                </a:rPr>
                <a:t>6 Injection Molding Lines</a:t>
              </a:r>
            </a:p>
            <a:p>
              <a:pPr marL="117440" indent="-117440" defTabSz="806197">
                <a:buClr>
                  <a:srgbClr val="003399"/>
                </a:buClr>
                <a:buSzPct val="100000"/>
                <a:buFontTx/>
                <a:buChar char="•"/>
                <a:defRPr/>
              </a:pPr>
              <a:r>
                <a:rPr lang="en-US" sz="1000" b="1" kern="0">
                  <a:solidFill>
                    <a:srgbClr val="273379"/>
                  </a:solidFill>
                  <a:latin typeface="Montserrat" pitchFamily="2" charset="0"/>
                  <a:sym typeface="Arial"/>
                </a:rPr>
                <a:t>Team Size: 100+ Employees</a:t>
              </a:r>
              <a:endParaRPr lang="en-US" sz="1000" kern="0">
                <a:solidFill>
                  <a:srgbClr val="273379"/>
                </a:solidFill>
                <a:latin typeface="Montserrat" pitchFamily="2" charset="0"/>
                <a:sym typeface="Arial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8590381-DED1-AB4E-3BAF-08F4F4F93716}"/>
                </a:ext>
              </a:extLst>
            </p:cNvPr>
            <p:cNvSpPr/>
            <p:nvPr/>
          </p:nvSpPr>
          <p:spPr>
            <a:xfrm>
              <a:off x="6529836" y="2112754"/>
              <a:ext cx="3226039" cy="258233"/>
            </a:xfrm>
            <a:prstGeom prst="rect">
              <a:avLst/>
            </a:prstGeom>
            <a:solidFill>
              <a:srgbClr val="E84E0E"/>
            </a:solidFill>
            <a:ln w="19050">
              <a:solidFill>
                <a:srgbClr val="E84E0E"/>
              </a:solidFill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806197">
                <a:buClr>
                  <a:srgbClr val="003399"/>
                </a:buClr>
                <a:buSzPct val="100000"/>
                <a:defRPr/>
              </a:pPr>
              <a:r>
                <a:rPr lang="en-US" sz="1400" b="1" kern="0">
                  <a:solidFill>
                    <a:srgbClr val="FFFFFF"/>
                  </a:solidFill>
                  <a:latin typeface="Montserrat" pitchFamily="2" charset="0"/>
                  <a:ea typeface="Source Sans Pro Light"/>
                  <a:sym typeface="Arial"/>
                </a:rPr>
                <a:t>CCK Automations (Jacksonville, IL)</a:t>
              </a:r>
              <a:endParaRPr lang="en-US" sz="1400" b="1" kern="0">
                <a:solidFill>
                  <a:srgbClr val="FFFFFF"/>
                </a:solidFill>
                <a:latin typeface="Montserrat" pitchFamily="2" charset="0"/>
                <a:sym typeface="Arial"/>
              </a:endParaRPr>
            </a:p>
          </p:txBody>
        </p:sp>
      </p:grpSp>
      <p:sp>
        <p:nvSpPr>
          <p:cNvPr id="82" name="Rectangle 81">
            <a:extLst>
              <a:ext uri="{FF2B5EF4-FFF2-40B4-BE49-F238E27FC236}">
                <a16:creationId xmlns:a16="http://schemas.microsoft.com/office/drawing/2014/main" id="{7204BF9D-1B39-F7FA-382D-C9F9D79D8254}"/>
              </a:ext>
            </a:extLst>
          </p:cNvPr>
          <p:cNvSpPr/>
          <p:nvPr/>
        </p:nvSpPr>
        <p:spPr>
          <a:xfrm>
            <a:off x="122930" y="3530083"/>
            <a:ext cx="4541367" cy="282054"/>
          </a:xfrm>
          <a:prstGeom prst="rect">
            <a:avLst/>
          </a:prstGeom>
          <a:solidFill>
            <a:srgbClr val="E84E0E"/>
          </a:solidFill>
          <a:ln w="19050">
            <a:solidFill>
              <a:srgbClr val="E84E0E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 defTabSz="806197">
              <a:buClr>
                <a:srgbClr val="003399"/>
              </a:buClr>
              <a:buSzPct val="100000"/>
              <a:defRPr/>
            </a:pPr>
            <a:r>
              <a:rPr lang="en-US" sz="1400" b="1" kern="0">
                <a:solidFill>
                  <a:srgbClr val="FFFFFF"/>
                </a:solidFill>
                <a:latin typeface="Arial"/>
                <a:ea typeface="Source Sans Pro Light"/>
                <a:sym typeface="Arial"/>
              </a:rPr>
              <a:t>Accutron (Windsor, CT)</a:t>
            </a:r>
            <a:endParaRPr lang="en-US" sz="1400" b="1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46199E44-9C5D-CFA7-D0F1-DEC29FBF764F}"/>
              </a:ext>
            </a:extLst>
          </p:cNvPr>
          <p:cNvGrpSpPr/>
          <p:nvPr/>
        </p:nvGrpSpPr>
        <p:grpSpPr>
          <a:xfrm>
            <a:off x="133731" y="5059376"/>
            <a:ext cx="4589307" cy="1382751"/>
            <a:chOff x="6510795" y="2229039"/>
            <a:chExt cx="3350137" cy="1096483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36188E76-3D3F-5E7C-D958-2782E8DD0923}"/>
                </a:ext>
              </a:extLst>
            </p:cNvPr>
            <p:cNvSpPr/>
            <p:nvPr/>
          </p:nvSpPr>
          <p:spPr>
            <a:xfrm>
              <a:off x="6523842" y="2494256"/>
              <a:ext cx="3337090" cy="83126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E84E0E"/>
              </a:solidFill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72000" tIns="45720" rIns="91440" bIns="45720" rtlCol="0" anchor="ctr"/>
            <a:lstStyle/>
            <a:p>
              <a:pPr marL="117440" indent="-117440" defTabSz="806197">
                <a:buClr>
                  <a:srgbClr val="003399"/>
                </a:buClr>
                <a:buSzPct val="100000"/>
                <a:buFontTx/>
                <a:buChar char="•"/>
                <a:defRPr/>
              </a:pPr>
              <a:r>
                <a:rPr lang="en-US" sz="1000" b="1" kern="0" dirty="0">
                  <a:solidFill>
                    <a:srgbClr val="273379"/>
                  </a:solidFill>
                  <a:latin typeface="Montserrat" pitchFamily="2" charset="0"/>
                  <a:ea typeface="Source Sans Pro Light"/>
                  <a:sym typeface="Arial"/>
                </a:rPr>
                <a:t>17,000 Sq. Ft. Facility</a:t>
              </a:r>
            </a:p>
            <a:p>
              <a:pPr marL="117440" indent="-117440" defTabSz="806197">
                <a:buClr>
                  <a:srgbClr val="003399"/>
                </a:buClr>
                <a:buSzPct val="100000"/>
                <a:buFontTx/>
                <a:buChar char="•"/>
                <a:defRPr/>
              </a:pPr>
              <a:r>
                <a:rPr lang="en-US" sz="1000" b="1" kern="0" dirty="0">
                  <a:solidFill>
                    <a:srgbClr val="273379"/>
                  </a:solidFill>
                  <a:latin typeface="Montserrat" pitchFamily="2" charset="0"/>
                  <a:sym typeface="Arial"/>
                </a:rPr>
                <a:t>Low - Mid Volume PCBA</a:t>
              </a:r>
            </a:p>
            <a:p>
              <a:pPr marL="117440" indent="-117440" defTabSz="806197">
                <a:buClr>
                  <a:srgbClr val="003399"/>
                </a:buClr>
                <a:buSzPct val="100000"/>
                <a:buFontTx/>
                <a:buChar char="•"/>
                <a:defRPr/>
              </a:pPr>
              <a:r>
                <a:rPr lang="en-US" sz="1000" b="1" kern="0" dirty="0">
                  <a:solidFill>
                    <a:srgbClr val="273379"/>
                  </a:solidFill>
                  <a:latin typeface="Montserrat" pitchFamily="2" charset="0"/>
                  <a:sym typeface="Arial"/>
                </a:rPr>
                <a:t>Quick Turn Prototype</a:t>
              </a:r>
            </a:p>
            <a:p>
              <a:pPr marL="117440" indent="-117440" defTabSz="806197">
                <a:buClr>
                  <a:srgbClr val="003399"/>
                </a:buClr>
                <a:buSzPct val="100000"/>
                <a:buFontTx/>
                <a:buChar char="•"/>
                <a:defRPr/>
              </a:pPr>
              <a:r>
                <a:rPr lang="en-US" sz="1000" b="1" kern="0" dirty="0">
                  <a:solidFill>
                    <a:srgbClr val="273379"/>
                  </a:solidFill>
                  <a:latin typeface="Montserrat" pitchFamily="2" charset="0"/>
                  <a:sym typeface="Arial"/>
                </a:rPr>
                <a:t>3 Fully Automated SMT Production Lines </a:t>
              </a:r>
            </a:p>
            <a:p>
              <a:pPr marL="117440" indent="-117440" defTabSz="806197">
                <a:buClr>
                  <a:srgbClr val="003399"/>
                </a:buClr>
                <a:buSzPct val="100000"/>
                <a:buFontTx/>
                <a:buChar char="•"/>
                <a:defRPr/>
              </a:pPr>
              <a:r>
                <a:rPr lang="en-US" sz="1000" b="1" kern="0" dirty="0">
                  <a:solidFill>
                    <a:srgbClr val="273379"/>
                  </a:solidFill>
                  <a:latin typeface="Montserrat" pitchFamily="2" charset="0"/>
                  <a:sym typeface="Arial"/>
                </a:rPr>
                <a:t>Box Build Work Cells</a:t>
              </a:r>
            </a:p>
            <a:p>
              <a:pPr marL="117440" indent="-117440" defTabSz="806197">
                <a:buClr>
                  <a:srgbClr val="003399"/>
                </a:buClr>
                <a:buSzPct val="100000"/>
                <a:buFontTx/>
                <a:buChar char="•"/>
                <a:defRPr/>
              </a:pPr>
              <a:r>
                <a:rPr lang="en-US" sz="1000" b="1" kern="0" dirty="0">
                  <a:solidFill>
                    <a:srgbClr val="273379"/>
                  </a:solidFill>
                  <a:latin typeface="Montserrat" pitchFamily="2" charset="0"/>
                  <a:sym typeface="Arial"/>
                </a:rPr>
                <a:t>Team Size: 40+ Employees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C2CA68BF-4064-7C37-0C93-507499BBD0A1}"/>
                </a:ext>
              </a:extLst>
            </p:cNvPr>
            <p:cNvSpPr/>
            <p:nvPr/>
          </p:nvSpPr>
          <p:spPr>
            <a:xfrm>
              <a:off x="6510795" y="2229039"/>
              <a:ext cx="3337499" cy="256465"/>
            </a:xfrm>
            <a:prstGeom prst="rect">
              <a:avLst/>
            </a:prstGeom>
            <a:solidFill>
              <a:srgbClr val="E84E0E"/>
            </a:solidFill>
            <a:ln w="19050">
              <a:solidFill>
                <a:srgbClr val="E84E0E"/>
              </a:solidFill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806197">
                <a:buClr>
                  <a:srgbClr val="003399"/>
                </a:buClr>
                <a:buSzPct val="100000"/>
                <a:defRPr/>
              </a:pPr>
              <a:r>
                <a:rPr lang="en-US" sz="1400" b="1" kern="0" dirty="0">
                  <a:solidFill>
                    <a:srgbClr val="FFFFFF"/>
                  </a:solidFill>
                  <a:latin typeface="Arial"/>
                  <a:ea typeface="Source Sans Pro Light"/>
                  <a:sym typeface="Arial"/>
                </a:rPr>
                <a:t>OSDA / ARGO (Milford, CT)</a:t>
              </a:r>
              <a:endParaRPr lang="en-US" sz="1400" b="1" kern="0" dirty="0">
                <a:solidFill>
                  <a:srgbClr val="FFFFFF"/>
                </a:solidFill>
                <a:latin typeface="Arial"/>
                <a:sym typeface="Arial"/>
              </a:endParaRPr>
            </a:p>
          </p:txBody>
        </p:sp>
      </p:grpSp>
      <p:sp>
        <p:nvSpPr>
          <p:cNvPr id="95" name="Oval 94">
            <a:extLst>
              <a:ext uri="{FF2B5EF4-FFF2-40B4-BE49-F238E27FC236}">
                <a16:creationId xmlns:a16="http://schemas.microsoft.com/office/drawing/2014/main" id="{4144F2F7-F4BF-D038-C64D-F731BE151DED}"/>
              </a:ext>
            </a:extLst>
          </p:cNvPr>
          <p:cNvSpPr/>
          <p:nvPr/>
        </p:nvSpPr>
        <p:spPr bwMode="auto">
          <a:xfrm>
            <a:off x="6130973" y="3616160"/>
            <a:ext cx="473561" cy="467739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 contourW="50800">
            <a:bevelT w="0"/>
            <a:extrusionClr>
              <a:schemeClr val="tx1"/>
            </a:extrusionClr>
            <a:contourClr>
              <a:srgbClr val="E84E0E"/>
            </a:contourClr>
          </a:sp3d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69937">
              <a:lnSpc>
                <a:spcPct val="90000"/>
              </a:lnSpc>
              <a:defRPr/>
            </a:pPr>
            <a:endParaRPr lang="en-US" sz="1200" b="1" kern="0">
              <a:solidFill>
                <a:srgbClr val="FFFFFF"/>
              </a:solidFill>
              <a:latin typeface="Arial" panose="020B0604020202020204" pitchFamily="34" charset="0"/>
              <a:cs typeface="Arial"/>
              <a:sym typeface="Arial"/>
            </a:endParaRPr>
          </a:p>
        </p:txBody>
      </p:sp>
      <p:pic>
        <p:nvPicPr>
          <p:cNvPr id="102" name="Picture 2" descr="OSDA Contract Services | LinkedIn">
            <a:extLst>
              <a:ext uri="{FF2B5EF4-FFF2-40B4-BE49-F238E27FC236}">
                <a16:creationId xmlns:a16="http://schemas.microsoft.com/office/drawing/2014/main" id="{EA5619C5-6B9D-BF1B-8B46-C597CE2E41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742" b="34854"/>
          <a:stretch/>
        </p:blipFill>
        <p:spPr bwMode="auto">
          <a:xfrm>
            <a:off x="247172" y="5453146"/>
            <a:ext cx="864001" cy="271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102" descr="Blue text on a black background&#10;&#10;Description automatically generated">
            <a:extLst>
              <a:ext uri="{FF2B5EF4-FFF2-40B4-BE49-F238E27FC236}">
                <a16:creationId xmlns:a16="http://schemas.microsoft.com/office/drawing/2014/main" id="{10C4E643-9D5E-2731-6222-9B09FE4C1BC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172" y="5726181"/>
            <a:ext cx="864001" cy="295312"/>
          </a:xfrm>
          <a:prstGeom prst="rect">
            <a:avLst/>
          </a:prstGeom>
        </p:spPr>
      </p:pic>
      <p:pic>
        <p:nvPicPr>
          <p:cNvPr id="104" name="Picture 103" descr="CCK Automations, Inc. | LinkedIn">
            <a:extLst>
              <a:ext uri="{FF2B5EF4-FFF2-40B4-BE49-F238E27FC236}">
                <a16:creationId xmlns:a16="http://schemas.microsoft.com/office/drawing/2014/main" id="{8A95F4CB-B1A1-7ACD-E58D-C61030C536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000" b="23340"/>
          <a:stretch/>
        </p:blipFill>
        <p:spPr bwMode="auto">
          <a:xfrm>
            <a:off x="146730" y="2577198"/>
            <a:ext cx="864001" cy="524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7" name="Rectangle 186">
            <a:extLst>
              <a:ext uri="{FF2B5EF4-FFF2-40B4-BE49-F238E27FC236}">
                <a16:creationId xmlns:a16="http://schemas.microsoft.com/office/drawing/2014/main" id="{9E1FE87E-CB7E-8B4D-B2EB-6C0C45DF4CA9}"/>
              </a:ext>
            </a:extLst>
          </p:cNvPr>
          <p:cNvSpPr/>
          <p:nvPr/>
        </p:nvSpPr>
        <p:spPr>
          <a:xfrm>
            <a:off x="4782056" y="5780620"/>
            <a:ext cx="4260666" cy="1125376"/>
          </a:xfrm>
          <a:prstGeom prst="rect">
            <a:avLst/>
          </a:prstGeom>
          <a:solidFill>
            <a:schemeClr val="bg1"/>
          </a:solidFill>
          <a:ln w="28575">
            <a:solidFill>
              <a:srgbClr val="E84E0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87">
              <a:buClr>
                <a:srgbClr val="000000"/>
              </a:buClr>
              <a:defRPr/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89" name="Rectangle: Rounded Corners 188">
            <a:extLst>
              <a:ext uri="{FF2B5EF4-FFF2-40B4-BE49-F238E27FC236}">
                <a16:creationId xmlns:a16="http://schemas.microsoft.com/office/drawing/2014/main" id="{15D9A8E8-2CEB-E344-6763-C9A930B5353C}"/>
              </a:ext>
            </a:extLst>
          </p:cNvPr>
          <p:cNvSpPr/>
          <p:nvPr/>
        </p:nvSpPr>
        <p:spPr>
          <a:xfrm>
            <a:off x="4782056" y="5772861"/>
            <a:ext cx="4260666" cy="271036"/>
          </a:xfrm>
          <a:prstGeom prst="roundRect">
            <a:avLst>
              <a:gd name="adj" fmla="val 6267"/>
            </a:avLst>
          </a:prstGeom>
          <a:solidFill>
            <a:srgbClr val="E84E0E"/>
          </a:solidFill>
          <a:ln>
            <a:solidFill>
              <a:srgbClr val="E84E0E"/>
            </a:solidFill>
          </a:ln>
          <a:effectLst>
            <a:reflection stA="45000" endPos="19000" dist="50800" dir="5400000" sy="-100000" algn="bl" rotWithShape="0"/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87">
              <a:buClr>
                <a:srgbClr val="000000"/>
              </a:buClr>
              <a:defRPr/>
            </a:pPr>
            <a:r>
              <a:rPr lang="en-US" sz="1400" b="1" kern="0">
                <a:solidFill>
                  <a:srgbClr val="FFFFFF"/>
                </a:solidFill>
                <a:latin typeface="Montserrat" pitchFamily="2" charset="0"/>
                <a:sym typeface="Arial"/>
              </a:rPr>
              <a:t>In-House Capabilities</a:t>
            </a:r>
          </a:p>
        </p:txBody>
      </p: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87CC9956-9B23-55CC-1E9E-13A70C3A1FEC}"/>
              </a:ext>
            </a:extLst>
          </p:cNvPr>
          <p:cNvGrpSpPr/>
          <p:nvPr/>
        </p:nvGrpSpPr>
        <p:grpSpPr>
          <a:xfrm>
            <a:off x="4812264" y="6114592"/>
            <a:ext cx="233712" cy="233712"/>
            <a:chOff x="1612577" y="1992768"/>
            <a:chExt cx="698921" cy="698920"/>
          </a:xfrm>
        </p:grpSpPr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210BEEB0-1AF1-2B87-9F51-4B04782A46F1}"/>
                </a:ext>
              </a:extLst>
            </p:cNvPr>
            <p:cNvSpPr/>
            <p:nvPr/>
          </p:nvSpPr>
          <p:spPr>
            <a:xfrm flipH="1">
              <a:off x="1612577" y="1992768"/>
              <a:ext cx="698921" cy="69892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dist="190500" dir="4800000" sx="90000" sy="90000" algn="t" rotWithShape="0">
                <a:prstClr val="black">
                  <a:alpha val="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87">
                <a:buClr>
                  <a:srgbClr val="000000"/>
                </a:buClr>
                <a:defRPr/>
              </a:pPr>
              <a:endParaRPr lang="id-ID" sz="1013" kern="0">
                <a:solidFill>
                  <a:srgbClr val="000000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sym typeface="Arial"/>
              </a:endParaRPr>
            </a:p>
          </p:txBody>
        </p:sp>
        <p:sp>
          <p:nvSpPr>
            <p:cNvPr id="193" name="Freeform 19">
              <a:extLst>
                <a:ext uri="{FF2B5EF4-FFF2-40B4-BE49-F238E27FC236}">
                  <a16:creationId xmlns:a16="http://schemas.microsoft.com/office/drawing/2014/main" id="{D0454AEA-BA2C-6699-EB10-86ED6D70A7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05228" y="2227761"/>
              <a:ext cx="313612" cy="228936"/>
            </a:xfrm>
            <a:custGeom>
              <a:avLst/>
              <a:gdLst>
                <a:gd name="T0" fmla="*/ 200 w 220"/>
                <a:gd name="T1" fmla="*/ 0 h 160"/>
                <a:gd name="T2" fmla="*/ 180 w 220"/>
                <a:gd name="T3" fmla="*/ 20 h 160"/>
                <a:gd name="T4" fmla="*/ 188 w 220"/>
                <a:gd name="T5" fmla="*/ 36 h 160"/>
                <a:gd name="T6" fmla="*/ 184 w 220"/>
                <a:gd name="T7" fmla="*/ 34 h 160"/>
                <a:gd name="T8" fmla="*/ 136 w 220"/>
                <a:gd name="T9" fmla="*/ 124 h 160"/>
                <a:gd name="T10" fmla="*/ 124 w 220"/>
                <a:gd name="T11" fmla="*/ 120 h 160"/>
                <a:gd name="T12" fmla="*/ 113 w 220"/>
                <a:gd name="T13" fmla="*/ 123 h 160"/>
                <a:gd name="T14" fmla="*/ 76 w 220"/>
                <a:gd name="T15" fmla="*/ 71 h 160"/>
                <a:gd name="T16" fmla="*/ 80 w 220"/>
                <a:gd name="T17" fmla="*/ 60 h 160"/>
                <a:gd name="T18" fmla="*/ 60 w 220"/>
                <a:gd name="T19" fmla="*/ 40 h 160"/>
                <a:gd name="T20" fmla="*/ 40 w 220"/>
                <a:gd name="T21" fmla="*/ 60 h 160"/>
                <a:gd name="T22" fmla="*/ 43 w 220"/>
                <a:gd name="T23" fmla="*/ 71 h 160"/>
                <a:gd name="T24" fmla="*/ 28 w 220"/>
                <a:gd name="T25" fmla="*/ 90 h 160"/>
                <a:gd name="T26" fmla="*/ 20 w 220"/>
                <a:gd name="T27" fmla="*/ 88 h 160"/>
                <a:gd name="T28" fmla="*/ 0 w 220"/>
                <a:gd name="T29" fmla="*/ 108 h 160"/>
                <a:gd name="T30" fmla="*/ 20 w 220"/>
                <a:gd name="T31" fmla="*/ 128 h 160"/>
                <a:gd name="T32" fmla="*/ 40 w 220"/>
                <a:gd name="T33" fmla="*/ 108 h 160"/>
                <a:gd name="T34" fmla="*/ 35 w 220"/>
                <a:gd name="T35" fmla="*/ 94 h 160"/>
                <a:gd name="T36" fmla="*/ 49 w 220"/>
                <a:gd name="T37" fmla="*/ 77 h 160"/>
                <a:gd name="T38" fmla="*/ 60 w 220"/>
                <a:gd name="T39" fmla="*/ 80 h 160"/>
                <a:gd name="T40" fmla="*/ 71 w 220"/>
                <a:gd name="T41" fmla="*/ 77 h 160"/>
                <a:gd name="T42" fmla="*/ 108 w 220"/>
                <a:gd name="T43" fmla="*/ 129 h 160"/>
                <a:gd name="T44" fmla="*/ 104 w 220"/>
                <a:gd name="T45" fmla="*/ 140 h 160"/>
                <a:gd name="T46" fmla="*/ 124 w 220"/>
                <a:gd name="T47" fmla="*/ 160 h 160"/>
                <a:gd name="T48" fmla="*/ 144 w 220"/>
                <a:gd name="T49" fmla="*/ 140 h 160"/>
                <a:gd name="T50" fmla="*/ 141 w 220"/>
                <a:gd name="T51" fmla="*/ 130 h 160"/>
                <a:gd name="T52" fmla="*/ 191 w 220"/>
                <a:gd name="T53" fmla="*/ 38 h 160"/>
                <a:gd name="T54" fmla="*/ 200 w 220"/>
                <a:gd name="T55" fmla="*/ 40 h 160"/>
                <a:gd name="T56" fmla="*/ 220 w 220"/>
                <a:gd name="T57" fmla="*/ 20 h 160"/>
                <a:gd name="T58" fmla="*/ 200 w 220"/>
                <a:gd name="T59" fmla="*/ 0 h 160"/>
                <a:gd name="T60" fmla="*/ 20 w 220"/>
                <a:gd name="T61" fmla="*/ 120 h 160"/>
                <a:gd name="T62" fmla="*/ 8 w 220"/>
                <a:gd name="T63" fmla="*/ 108 h 160"/>
                <a:gd name="T64" fmla="*/ 20 w 220"/>
                <a:gd name="T65" fmla="*/ 96 h 160"/>
                <a:gd name="T66" fmla="*/ 32 w 220"/>
                <a:gd name="T67" fmla="*/ 108 h 160"/>
                <a:gd name="T68" fmla="*/ 20 w 220"/>
                <a:gd name="T69" fmla="*/ 120 h 160"/>
                <a:gd name="T70" fmla="*/ 60 w 220"/>
                <a:gd name="T71" fmla="*/ 72 h 160"/>
                <a:gd name="T72" fmla="*/ 48 w 220"/>
                <a:gd name="T73" fmla="*/ 60 h 160"/>
                <a:gd name="T74" fmla="*/ 60 w 220"/>
                <a:gd name="T75" fmla="*/ 48 h 160"/>
                <a:gd name="T76" fmla="*/ 72 w 220"/>
                <a:gd name="T77" fmla="*/ 60 h 160"/>
                <a:gd name="T78" fmla="*/ 60 w 220"/>
                <a:gd name="T79" fmla="*/ 72 h 160"/>
                <a:gd name="T80" fmla="*/ 124 w 220"/>
                <a:gd name="T81" fmla="*/ 152 h 160"/>
                <a:gd name="T82" fmla="*/ 112 w 220"/>
                <a:gd name="T83" fmla="*/ 140 h 160"/>
                <a:gd name="T84" fmla="*/ 124 w 220"/>
                <a:gd name="T85" fmla="*/ 128 h 160"/>
                <a:gd name="T86" fmla="*/ 136 w 220"/>
                <a:gd name="T87" fmla="*/ 140 h 160"/>
                <a:gd name="T88" fmla="*/ 124 w 220"/>
                <a:gd name="T89" fmla="*/ 152 h 160"/>
                <a:gd name="T90" fmla="*/ 200 w 220"/>
                <a:gd name="T91" fmla="*/ 32 h 160"/>
                <a:gd name="T92" fmla="*/ 188 w 220"/>
                <a:gd name="T93" fmla="*/ 20 h 160"/>
                <a:gd name="T94" fmla="*/ 200 w 220"/>
                <a:gd name="T95" fmla="*/ 8 h 160"/>
                <a:gd name="T96" fmla="*/ 212 w 220"/>
                <a:gd name="T97" fmla="*/ 20 h 160"/>
                <a:gd name="T98" fmla="*/ 200 w 220"/>
                <a:gd name="T99" fmla="*/ 32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0" h="160">
                  <a:moveTo>
                    <a:pt x="200" y="0"/>
                  </a:moveTo>
                  <a:cubicBezTo>
                    <a:pt x="189" y="0"/>
                    <a:pt x="180" y="9"/>
                    <a:pt x="180" y="20"/>
                  </a:cubicBezTo>
                  <a:cubicBezTo>
                    <a:pt x="180" y="27"/>
                    <a:pt x="183" y="33"/>
                    <a:pt x="188" y="36"/>
                  </a:cubicBezTo>
                  <a:cubicBezTo>
                    <a:pt x="184" y="34"/>
                    <a:pt x="184" y="34"/>
                    <a:pt x="184" y="34"/>
                  </a:cubicBezTo>
                  <a:cubicBezTo>
                    <a:pt x="136" y="124"/>
                    <a:pt x="136" y="124"/>
                    <a:pt x="136" y="124"/>
                  </a:cubicBezTo>
                  <a:cubicBezTo>
                    <a:pt x="132" y="122"/>
                    <a:pt x="128" y="120"/>
                    <a:pt x="124" y="120"/>
                  </a:cubicBezTo>
                  <a:cubicBezTo>
                    <a:pt x="120" y="120"/>
                    <a:pt x="116" y="121"/>
                    <a:pt x="113" y="123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9" y="68"/>
                    <a:pt x="80" y="64"/>
                    <a:pt x="80" y="60"/>
                  </a:cubicBezTo>
                  <a:cubicBezTo>
                    <a:pt x="80" y="49"/>
                    <a:pt x="71" y="40"/>
                    <a:pt x="60" y="40"/>
                  </a:cubicBezTo>
                  <a:cubicBezTo>
                    <a:pt x="49" y="40"/>
                    <a:pt x="40" y="49"/>
                    <a:pt x="40" y="60"/>
                  </a:cubicBezTo>
                  <a:cubicBezTo>
                    <a:pt x="40" y="64"/>
                    <a:pt x="41" y="68"/>
                    <a:pt x="43" y="71"/>
                  </a:cubicBezTo>
                  <a:cubicBezTo>
                    <a:pt x="28" y="90"/>
                    <a:pt x="28" y="90"/>
                    <a:pt x="28" y="90"/>
                  </a:cubicBezTo>
                  <a:cubicBezTo>
                    <a:pt x="26" y="89"/>
                    <a:pt x="23" y="88"/>
                    <a:pt x="20" y="88"/>
                  </a:cubicBezTo>
                  <a:cubicBezTo>
                    <a:pt x="9" y="88"/>
                    <a:pt x="0" y="97"/>
                    <a:pt x="0" y="108"/>
                  </a:cubicBezTo>
                  <a:cubicBezTo>
                    <a:pt x="0" y="119"/>
                    <a:pt x="9" y="128"/>
                    <a:pt x="20" y="128"/>
                  </a:cubicBezTo>
                  <a:cubicBezTo>
                    <a:pt x="31" y="128"/>
                    <a:pt x="40" y="119"/>
                    <a:pt x="40" y="108"/>
                  </a:cubicBezTo>
                  <a:cubicBezTo>
                    <a:pt x="40" y="103"/>
                    <a:pt x="38" y="98"/>
                    <a:pt x="35" y="94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52" y="79"/>
                    <a:pt x="56" y="80"/>
                    <a:pt x="60" y="80"/>
                  </a:cubicBezTo>
                  <a:cubicBezTo>
                    <a:pt x="64" y="80"/>
                    <a:pt x="68" y="79"/>
                    <a:pt x="71" y="77"/>
                  </a:cubicBezTo>
                  <a:cubicBezTo>
                    <a:pt x="108" y="129"/>
                    <a:pt x="108" y="129"/>
                    <a:pt x="108" y="129"/>
                  </a:cubicBezTo>
                  <a:cubicBezTo>
                    <a:pt x="105" y="132"/>
                    <a:pt x="104" y="136"/>
                    <a:pt x="104" y="140"/>
                  </a:cubicBezTo>
                  <a:cubicBezTo>
                    <a:pt x="104" y="151"/>
                    <a:pt x="113" y="160"/>
                    <a:pt x="124" y="160"/>
                  </a:cubicBezTo>
                  <a:cubicBezTo>
                    <a:pt x="135" y="160"/>
                    <a:pt x="144" y="151"/>
                    <a:pt x="144" y="140"/>
                  </a:cubicBezTo>
                  <a:cubicBezTo>
                    <a:pt x="144" y="136"/>
                    <a:pt x="143" y="133"/>
                    <a:pt x="141" y="130"/>
                  </a:cubicBezTo>
                  <a:cubicBezTo>
                    <a:pt x="191" y="38"/>
                    <a:pt x="191" y="38"/>
                    <a:pt x="191" y="38"/>
                  </a:cubicBezTo>
                  <a:cubicBezTo>
                    <a:pt x="194" y="39"/>
                    <a:pt x="197" y="40"/>
                    <a:pt x="200" y="40"/>
                  </a:cubicBezTo>
                  <a:cubicBezTo>
                    <a:pt x="211" y="40"/>
                    <a:pt x="220" y="31"/>
                    <a:pt x="220" y="20"/>
                  </a:cubicBezTo>
                  <a:cubicBezTo>
                    <a:pt x="220" y="9"/>
                    <a:pt x="211" y="0"/>
                    <a:pt x="200" y="0"/>
                  </a:cubicBezTo>
                  <a:close/>
                  <a:moveTo>
                    <a:pt x="20" y="120"/>
                  </a:moveTo>
                  <a:cubicBezTo>
                    <a:pt x="13" y="120"/>
                    <a:pt x="8" y="115"/>
                    <a:pt x="8" y="108"/>
                  </a:cubicBezTo>
                  <a:cubicBezTo>
                    <a:pt x="8" y="101"/>
                    <a:pt x="13" y="96"/>
                    <a:pt x="20" y="96"/>
                  </a:cubicBezTo>
                  <a:cubicBezTo>
                    <a:pt x="27" y="96"/>
                    <a:pt x="32" y="101"/>
                    <a:pt x="32" y="108"/>
                  </a:cubicBezTo>
                  <a:cubicBezTo>
                    <a:pt x="32" y="115"/>
                    <a:pt x="27" y="120"/>
                    <a:pt x="20" y="120"/>
                  </a:cubicBezTo>
                  <a:close/>
                  <a:moveTo>
                    <a:pt x="60" y="72"/>
                  </a:moveTo>
                  <a:cubicBezTo>
                    <a:pt x="53" y="72"/>
                    <a:pt x="48" y="67"/>
                    <a:pt x="48" y="60"/>
                  </a:cubicBezTo>
                  <a:cubicBezTo>
                    <a:pt x="48" y="53"/>
                    <a:pt x="53" y="48"/>
                    <a:pt x="60" y="48"/>
                  </a:cubicBezTo>
                  <a:cubicBezTo>
                    <a:pt x="67" y="48"/>
                    <a:pt x="72" y="53"/>
                    <a:pt x="72" y="60"/>
                  </a:cubicBezTo>
                  <a:cubicBezTo>
                    <a:pt x="72" y="67"/>
                    <a:pt x="67" y="72"/>
                    <a:pt x="60" y="72"/>
                  </a:cubicBezTo>
                  <a:close/>
                  <a:moveTo>
                    <a:pt x="124" y="152"/>
                  </a:moveTo>
                  <a:cubicBezTo>
                    <a:pt x="117" y="152"/>
                    <a:pt x="112" y="147"/>
                    <a:pt x="112" y="140"/>
                  </a:cubicBezTo>
                  <a:cubicBezTo>
                    <a:pt x="112" y="133"/>
                    <a:pt x="117" y="128"/>
                    <a:pt x="124" y="128"/>
                  </a:cubicBezTo>
                  <a:cubicBezTo>
                    <a:pt x="131" y="128"/>
                    <a:pt x="136" y="133"/>
                    <a:pt x="136" y="140"/>
                  </a:cubicBezTo>
                  <a:cubicBezTo>
                    <a:pt x="136" y="147"/>
                    <a:pt x="131" y="152"/>
                    <a:pt x="124" y="152"/>
                  </a:cubicBezTo>
                  <a:close/>
                  <a:moveTo>
                    <a:pt x="200" y="32"/>
                  </a:moveTo>
                  <a:cubicBezTo>
                    <a:pt x="193" y="32"/>
                    <a:pt x="188" y="27"/>
                    <a:pt x="188" y="20"/>
                  </a:cubicBezTo>
                  <a:cubicBezTo>
                    <a:pt x="188" y="13"/>
                    <a:pt x="193" y="8"/>
                    <a:pt x="200" y="8"/>
                  </a:cubicBezTo>
                  <a:cubicBezTo>
                    <a:pt x="207" y="8"/>
                    <a:pt x="212" y="13"/>
                    <a:pt x="212" y="20"/>
                  </a:cubicBezTo>
                  <a:cubicBezTo>
                    <a:pt x="212" y="27"/>
                    <a:pt x="207" y="32"/>
                    <a:pt x="200" y="32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914387">
                <a:buClr>
                  <a:srgbClr val="000000"/>
                </a:buClr>
                <a:defRPr/>
              </a:pPr>
              <a:endParaRPr lang="en-US" sz="1013" kern="0">
                <a:latin typeface="Source Sans Pro Light" panose="020B0403030403020204" pitchFamily="34" charset="0"/>
                <a:ea typeface="Source Sans Pro Light" panose="020B0403030403020204" pitchFamily="34" charset="0"/>
                <a:cs typeface="Arial"/>
                <a:sym typeface="Arial"/>
              </a:endParaRPr>
            </a:p>
          </p:txBody>
        </p:sp>
      </p:grpSp>
      <p:sp>
        <p:nvSpPr>
          <p:cNvPr id="194" name="TextBox 193">
            <a:extLst>
              <a:ext uri="{FF2B5EF4-FFF2-40B4-BE49-F238E27FC236}">
                <a16:creationId xmlns:a16="http://schemas.microsoft.com/office/drawing/2014/main" id="{4C292B6F-8728-B857-9417-872C7E54CC49}"/>
              </a:ext>
            </a:extLst>
          </p:cNvPr>
          <p:cNvSpPr txBox="1"/>
          <p:nvPr/>
        </p:nvSpPr>
        <p:spPr>
          <a:xfrm>
            <a:off x="5005785" y="6096969"/>
            <a:ext cx="143783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defTabSz="914387">
              <a:lnSpc>
                <a:spcPct val="100000"/>
              </a:lnSpc>
              <a:buClr>
                <a:srgbClr val="000000"/>
              </a:buClr>
              <a:defRPr/>
            </a:pPr>
            <a:r>
              <a:rPr lang="en-US" sz="800" b="1" kern="0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  <a:cs typeface="Arial"/>
                <a:sym typeface="Arial"/>
              </a:rPr>
              <a:t>High Volume PCB Assembly &amp; Box Build</a:t>
            </a:r>
          </a:p>
        </p:txBody>
      </p: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ABF8898C-E7A6-530D-A000-A01C8A9DDC08}"/>
              </a:ext>
            </a:extLst>
          </p:cNvPr>
          <p:cNvGrpSpPr/>
          <p:nvPr/>
        </p:nvGrpSpPr>
        <p:grpSpPr>
          <a:xfrm>
            <a:off x="4805746" y="6387171"/>
            <a:ext cx="233712" cy="233712"/>
            <a:chOff x="1612573" y="4523298"/>
            <a:chExt cx="698920" cy="698920"/>
          </a:xfrm>
        </p:grpSpPr>
        <p:sp>
          <p:nvSpPr>
            <p:cNvPr id="196" name="Oval 195">
              <a:extLst>
                <a:ext uri="{FF2B5EF4-FFF2-40B4-BE49-F238E27FC236}">
                  <a16:creationId xmlns:a16="http://schemas.microsoft.com/office/drawing/2014/main" id="{41294B87-B6FD-4E7F-614D-BEDDB6F1AC8A}"/>
                </a:ext>
              </a:extLst>
            </p:cNvPr>
            <p:cNvSpPr/>
            <p:nvPr/>
          </p:nvSpPr>
          <p:spPr>
            <a:xfrm flipH="1">
              <a:off x="1612573" y="4523298"/>
              <a:ext cx="698920" cy="69892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0" dist="190500" dir="5400000" sx="90000" sy="90000" algn="t" rotWithShape="0">
                <a:prstClr val="black">
                  <a:alpha val="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87">
                <a:buClr>
                  <a:srgbClr val="000000"/>
                </a:buClr>
                <a:defRPr/>
              </a:pPr>
              <a:endParaRPr lang="id-ID" sz="1013" kern="0">
                <a:solidFill>
                  <a:srgbClr val="000000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sym typeface="Arial"/>
              </a:endParaRPr>
            </a:p>
          </p:txBody>
        </p:sp>
        <p:grpSp>
          <p:nvGrpSpPr>
            <p:cNvPr id="197" name="Group 196">
              <a:extLst>
                <a:ext uri="{FF2B5EF4-FFF2-40B4-BE49-F238E27FC236}">
                  <a16:creationId xmlns:a16="http://schemas.microsoft.com/office/drawing/2014/main" id="{1AF747CD-E51E-FFFB-3337-BF2E045708B7}"/>
                </a:ext>
              </a:extLst>
            </p:cNvPr>
            <p:cNvGrpSpPr/>
            <p:nvPr/>
          </p:nvGrpSpPr>
          <p:grpSpPr>
            <a:xfrm>
              <a:off x="1756571" y="4658731"/>
              <a:ext cx="410926" cy="428054"/>
              <a:chOff x="1608427" y="4883616"/>
              <a:chExt cx="410926" cy="428054"/>
            </a:xfrm>
            <a:solidFill>
              <a:srgbClr val="AE2A31"/>
            </a:solidFill>
          </p:grpSpPr>
          <p:pic>
            <p:nvPicPr>
              <p:cNvPr id="198" name="Graphic 197" descr="Wrench with solid fill">
                <a:extLst>
                  <a:ext uri="{FF2B5EF4-FFF2-40B4-BE49-F238E27FC236}">
                    <a16:creationId xmlns:a16="http://schemas.microsoft.com/office/drawing/2014/main" id="{9FC608D4-E0F0-5AFA-D60E-00ECC1314E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1754484" y="5046801"/>
                <a:ext cx="264869" cy="264869"/>
              </a:xfrm>
              <a:prstGeom prst="rect">
                <a:avLst/>
              </a:prstGeom>
            </p:spPr>
          </p:pic>
          <p:pic>
            <p:nvPicPr>
              <p:cNvPr id="199" name="Graphic 198" descr="Blueprint with solid fill">
                <a:extLst>
                  <a:ext uri="{FF2B5EF4-FFF2-40B4-BE49-F238E27FC236}">
                    <a16:creationId xmlns:a16="http://schemas.microsoft.com/office/drawing/2014/main" id="{62AF3DD3-E045-2813-9CBF-6951A602F6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1608427" y="4883616"/>
                <a:ext cx="264869" cy="264869"/>
              </a:xfrm>
              <a:prstGeom prst="rect">
                <a:avLst/>
              </a:prstGeom>
            </p:spPr>
          </p:pic>
        </p:grpSp>
      </p:grpSp>
      <p:sp>
        <p:nvSpPr>
          <p:cNvPr id="200" name="TextBox 199">
            <a:extLst>
              <a:ext uri="{FF2B5EF4-FFF2-40B4-BE49-F238E27FC236}">
                <a16:creationId xmlns:a16="http://schemas.microsoft.com/office/drawing/2014/main" id="{C31251AD-2DE5-0D6B-48AB-D8883368695B}"/>
              </a:ext>
            </a:extLst>
          </p:cNvPr>
          <p:cNvSpPr txBox="1"/>
          <p:nvPr/>
        </p:nvSpPr>
        <p:spPr>
          <a:xfrm>
            <a:off x="5012969" y="6412482"/>
            <a:ext cx="1256031" cy="215444"/>
          </a:xfrm>
          <a:prstGeom prst="rect">
            <a:avLst/>
          </a:prstGeom>
          <a:noFill/>
          <a:effectLst>
            <a:outerShdw blurRad="50800" dist="50800" dir="5400000" algn="ctr" rotWithShape="0">
              <a:schemeClr val="bg1"/>
            </a:outerShdw>
          </a:effectLst>
        </p:spPr>
        <p:txBody>
          <a:bodyPr wrap="square" rtlCol="0" anchor="ctr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defTabSz="914387">
              <a:lnSpc>
                <a:spcPct val="100000"/>
              </a:lnSpc>
              <a:buClr>
                <a:srgbClr val="000000"/>
              </a:buClr>
              <a:defRPr/>
            </a:pPr>
            <a:r>
              <a:rPr lang="en-US" sz="800" b="1" kern="0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  <a:cs typeface="Arial"/>
                <a:sym typeface="Arial"/>
              </a:rPr>
              <a:t>Mixed Technology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C34D481B-9850-46CF-DDC5-FA039BAC3054}"/>
              </a:ext>
            </a:extLst>
          </p:cNvPr>
          <p:cNvSpPr txBox="1"/>
          <p:nvPr/>
        </p:nvSpPr>
        <p:spPr>
          <a:xfrm>
            <a:off x="4991308" y="6676466"/>
            <a:ext cx="1539491" cy="215444"/>
          </a:xfrm>
          <a:prstGeom prst="rect">
            <a:avLst/>
          </a:prstGeom>
          <a:noFill/>
          <a:effectLst>
            <a:outerShdw blurRad="50800" dist="50800" dir="5400000" algn="ctr" rotWithShape="0">
              <a:schemeClr val="bg1"/>
            </a:outerShdw>
          </a:effectLst>
        </p:spPr>
        <p:txBody>
          <a:bodyPr wrap="square" rtlCol="0" anchor="ctr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defTabSz="914387">
              <a:lnSpc>
                <a:spcPct val="100000"/>
              </a:lnSpc>
              <a:buClr>
                <a:srgbClr val="000000"/>
              </a:buClr>
              <a:defRPr/>
            </a:pPr>
            <a:r>
              <a:rPr lang="en-US" sz="800" b="1" kern="0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  <a:cs typeface="Arial"/>
                <a:sym typeface="Arial"/>
              </a:rPr>
              <a:t>Lead &amp; RoHS Soldering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0A0D2A02-04A0-D314-0E54-87C6BAE29E53}"/>
              </a:ext>
            </a:extLst>
          </p:cNvPr>
          <p:cNvSpPr txBox="1"/>
          <p:nvPr/>
        </p:nvSpPr>
        <p:spPr>
          <a:xfrm>
            <a:off x="6485919" y="6128555"/>
            <a:ext cx="1256031" cy="215444"/>
          </a:xfrm>
          <a:prstGeom prst="rect">
            <a:avLst/>
          </a:prstGeom>
          <a:noFill/>
          <a:effectLst>
            <a:outerShdw blurRad="50800" dist="50800" dir="5400000" algn="ctr" rotWithShape="0">
              <a:schemeClr val="bg1"/>
            </a:outerShdw>
          </a:effectLst>
        </p:spPr>
        <p:txBody>
          <a:bodyPr wrap="square" rtlCol="0" anchor="ctr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defTabSz="914387">
              <a:lnSpc>
                <a:spcPct val="100000"/>
              </a:lnSpc>
              <a:buClr>
                <a:srgbClr val="000000"/>
              </a:buClr>
              <a:defRPr/>
            </a:pPr>
            <a:r>
              <a:rPr lang="en-US" sz="800" b="1" kern="0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  <a:cs typeface="Arial"/>
                <a:sym typeface="Arial"/>
              </a:rPr>
              <a:t>Injection Molding</a:t>
            </a:r>
          </a:p>
        </p:txBody>
      </p: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57736BAF-2B8F-F280-76F2-E13F0E6445A8}"/>
              </a:ext>
            </a:extLst>
          </p:cNvPr>
          <p:cNvGrpSpPr/>
          <p:nvPr/>
        </p:nvGrpSpPr>
        <p:grpSpPr>
          <a:xfrm>
            <a:off x="6304539" y="6112094"/>
            <a:ext cx="233712" cy="233712"/>
            <a:chOff x="3714293" y="5583937"/>
            <a:chExt cx="306600" cy="306600"/>
          </a:xfrm>
        </p:grpSpPr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FD465233-3A2A-2C61-D82F-6141F74B5B48}"/>
                </a:ext>
              </a:extLst>
            </p:cNvPr>
            <p:cNvSpPr/>
            <p:nvPr/>
          </p:nvSpPr>
          <p:spPr>
            <a:xfrm flipH="1">
              <a:off x="3714293" y="5583937"/>
              <a:ext cx="306600" cy="3066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0" dist="190500" dir="5400000" sx="90000" sy="90000" algn="t" rotWithShape="0">
                <a:prstClr val="black">
                  <a:alpha val="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87">
                <a:buClr>
                  <a:srgbClr val="000000"/>
                </a:buClr>
                <a:defRPr/>
              </a:pPr>
              <a:endParaRPr lang="id-ID" sz="1013" kern="0">
                <a:solidFill>
                  <a:srgbClr val="000000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sym typeface="Arial"/>
              </a:endParaRPr>
            </a:p>
          </p:txBody>
        </p:sp>
        <p:pic>
          <p:nvPicPr>
            <p:cNvPr id="205" name="Graphic 204" descr="Photocopier with solid fill">
              <a:extLst>
                <a:ext uri="{FF2B5EF4-FFF2-40B4-BE49-F238E27FC236}">
                  <a16:creationId xmlns:a16="http://schemas.microsoft.com/office/drawing/2014/main" id="{2AAF0641-D7E2-FE2E-A05D-C34910571F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3772296" y="5646041"/>
              <a:ext cx="174228" cy="174228"/>
            </a:xfrm>
            <a:prstGeom prst="rect">
              <a:avLst/>
            </a:prstGeom>
          </p:spPr>
        </p:pic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4EDA2096-9AB8-E286-4224-534A397B6E40}"/>
              </a:ext>
            </a:extLst>
          </p:cNvPr>
          <p:cNvGrpSpPr/>
          <p:nvPr/>
        </p:nvGrpSpPr>
        <p:grpSpPr>
          <a:xfrm>
            <a:off x="4811315" y="6652712"/>
            <a:ext cx="233712" cy="233712"/>
            <a:chOff x="3706110" y="5216600"/>
            <a:chExt cx="306600" cy="306600"/>
          </a:xfrm>
        </p:grpSpPr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CB825945-D380-CA1F-6954-34B4710FC67D}"/>
                </a:ext>
              </a:extLst>
            </p:cNvPr>
            <p:cNvSpPr/>
            <p:nvPr/>
          </p:nvSpPr>
          <p:spPr>
            <a:xfrm flipH="1">
              <a:off x="3706110" y="5216600"/>
              <a:ext cx="306600" cy="3066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0" dist="190500" dir="5400000" sx="90000" sy="90000" algn="t" rotWithShape="0">
                <a:prstClr val="black">
                  <a:alpha val="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87">
                <a:buClr>
                  <a:srgbClr val="000000"/>
                </a:buClr>
                <a:defRPr/>
              </a:pPr>
              <a:endParaRPr lang="id-ID" sz="1013" kern="0">
                <a:solidFill>
                  <a:srgbClr val="000000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sym typeface="Arial"/>
              </a:endParaRPr>
            </a:p>
          </p:txBody>
        </p:sp>
        <p:pic>
          <p:nvPicPr>
            <p:cNvPr id="208" name="Graphic 207" descr="Screwdriver with solid fill">
              <a:extLst>
                <a:ext uri="{FF2B5EF4-FFF2-40B4-BE49-F238E27FC236}">
                  <a16:creationId xmlns:a16="http://schemas.microsoft.com/office/drawing/2014/main" id="{2812728B-79EE-6EB3-97B1-FD96D9AAEE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3777304" y="5286267"/>
              <a:ext cx="180577" cy="180577"/>
            </a:xfrm>
            <a:prstGeom prst="rect">
              <a:avLst/>
            </a:prstGeom>
          </p:spPr>
        </p:pic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A5DAD1A5-10FE-D899-5FC5-350F294E49D7}"/>
              </a:ext>
            </a:extLst>
          </p:cNvPr>
          <p:cNvGrpSpPr/>
          <p:nvPr/>
        </p:nvGrpSpPr>
        <p:grpSpPr>
          <a:xfrm>
            <a:off x="6304213" y="6382081"/>
            <a:ext cx="237708" cy="237708"/>
            <a:chOff x="1612574" y="3345775"/>
            <a:chExt cx="698920" cy="698920"/>
          </a:xfrm>
        </p:grpSpPr>
        <p:sp>
          <p:nvSpPr>
            <p:cNvPr id="210" name="Oval 209">
              <a:extLst>
                <a:ext uri="{FF2B5EF4-FFF2-40B4-BE49-F238E27FC236}">
                  <a16:creationId xmlns:a16="http://schemas.microsoft.com/office/drawing/2014/main" id="{5602C163-D299-C8C2-F977-20EC9CCA3A39}"/>
                </a:ext>
              </a:extLst>
            </p:cNvPr>
            <p:cNvSpPr/>
            <p:nvPr/>
          </p:nvSpPr>
          <p:spPr>
            <a:xfrm flipH="1">
              <a:off x="1612574" y="3345775"/>
              <a:ext cx="698920" cy="69892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dist="190500" dir="5400000" sx="90000" sy="90000" algn="t" rotWithShape="0">
                <a:prstClr val="black">
                  <a:alpha val="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87">
                <a:buClr>
                  <a:srgbClr val="000000"/>
                </a:buClr>
                <a:defRPr/>
              </a:pPr>
              <a:endParaRPr lang="id-ID" sz="1013" kern="0">
                <a:solidFill>
                  <a:srgbClr val="000000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sym typeface="Arial"/>
              </a:endParaRPr>
            </a:p>
          </p:txBody>
        </p:sp>
        <p:pic>
          <p:nvPicPr>
            <p:cNvPr id="211" name="Graphic 210" descr="Badge Tick with solid fill">
              <a:extLst>
                <a:ext uri="{FF2B5EF4-FFF2-40B4-BE49-F238E27FC236}">
                  <a16:creationId xmlns:a16="http://schemas.microsoft.com/office/drawing/2014/main" id="{C74577BC-1FE0-D124-D978-E04DD56747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1748747" y="3481948"/>
              <a:ext cx="426575" cy="426575"/>
            </a:xfrm>
            <a:prstGeom prst="rect">
              <a:avLst/>
            </a:prstGeom>
          </p:spPr>
        </p:pic>
      </p:grpSp>
      <p:sp>
        <p:nvSpPr>
          <p:cNvPr id="212" name="TextBox 211">
            <a:extLst>
              <a:ext uri="{FF2B5EF4-FFF2-40B4-BE49-F238E27FC236}">
                <a16:creationId xmlns:a16="http://schemas.microsoft.com/office/drawing/2014/main" id="{F9164691-2618-599A-DEA4-98D4334347E1}"/>
              </a:ext>
            </a:extLst>
          </p:cNvPr>
          <p:cNvSpPr txBox="1"/>
          <p:nvPr/>
        </p:nvSpPr>
        <p:spPr>
          <a:xfrm>
            <a:off x="6489124" y="6387049"/>
            <a:ext cx="1852736" cy="215444"/>
          </a:xfrm>
          <a:prstGeom prst="rect">
            <a:avLst/>
          </a:prstGeom>
          <a:noFill/>
          <a:effectLst>
            <a:outerShdw blurRad="50800" dist="50800" dir="5400000" algn="ctr" rotWithShape="0">
              <a:schemeClr val="bg1"/>
            </a:outerShdw>
          </a:effectLst>
        </p:spPr>
        <p:txBody>
          <a:bodyPr wrap="square" rtlCol="0" anchor="ctr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defTabSz="914387">
              <a:lnSpc>
                <a:spcPct val="100000"/>
              </a:lnSpc>
              <a:buClr>
                <a:srgbClr val="000000"/>
              </a:buClr>
              <a:defRPr/>
            </a:pPr>
            <a:r>
              <a:rPr lang="en-US" sz="800" b="1" kern="0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  <a:cs typeface="Arial"/>
                <a:sym typeface="Arial"/>
              </a:rPr>
              <a:t>Quick Turn Prototype </a:t>
            </a:r>
          </a:p>
        </p:txBody>
      </p:sp>
      <p:grpSp>
        <p:nvGrpSpPr>
          <p:cNvPr id="214" name="Group 213">
            <a:extLst>
              <a:ext uri="{FF2B5EF4-FFF2-40B4-BE49-F238E27FC236}">
                <a16:creationId xmlns:a16="http://schemas.microsoft.com/office/drawing/2014/main" id="{0842FFF2-5C8D-A474-D5CE-46DC4D4D8455}"/>
              </a:ext>
            </a:extLst>
          </p:cNvPr>
          <p:cNvGrpSpPr/>
          <p:nvPr/>
        </p:nvGrpSpPr>
        <p:grpSpPr>
          <a:xfrm>
            <a:off x="7712428" y="6115227"/>
            <a:ext cx="233712" cy="233712"/>
            <a:chOff x="5233068" y="4861414"/>
            <a:chExt cx="306600" cy="306600"/>
          </a:xfrm>
        </p:grpSpPr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3E050D2C-6E35-B5FF-9434-0A6CD3875134}"/>
                </a:ext>
              </a:extLst>
            </p:cNvPr>
            <p:cNvSpPr/>
            <p:nvPr/>
          </p:nvSpPr>
          <p:spPr>
            <a:xfrm flipH="1">
              <a:off x="5233068" y="4861414"/>
              <a:ext cx="306600" cy="3066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0" dist="190500" dir="5400000" sx="90000" sy="90000" algn="t" rotWithShape="0">
                <a:prstClr val="black">
                  <a:alpha val="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87">
                <a:buClr>
                  <a:srgbClr val="000000"/>
                </a:buClr>
                <a:defRPr/>
              </a:pPr>
              <a:endParaRPr lang="id-ID" sz="1013" kern="0">
                <a:solidFill>
                  <a:srgbClr val="000000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sym typeface="Arial"/>
              </a:endParaRPr>
            </a:p>
          </p:txBody>
        </p:sp>
        <p:pic>
          <p:nvPicPr>
            <p:cNvPr id="216" name="Graphic 215" descr="Blueprint outline">
              <a:extLst>
                <a:ext uri="{FF2B5EF4-FFF2-40B4-BE49-F238E27FC236}">
                  <a16:creationId xmlns:a16="http://schemas.microsoft.com/office/drawing/2014/main" id="{CEC887FE-AEE0-5454-9B85-B5126FB1CE7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5284237" y="4915140"/>
              <a:ext cx="202839" cy="202839"/>
            </a:xfrm>
            <a:prstGeom prst="rect">
              <a:avLst/>
            </a:prstGeom>
          </p:spPr>
        </p:pic>
      </p:grpSp>
      <p:sp>
        <p:nvSpPr>
          <p:cNvPr id="217" name="TextBox 216">
            <a:extLst>
              <a:ext uri="{FF2B5EF4-FFF2-40B4-BE49-F238E27FC236}">
                <a16:creationId xmlns:a16="http://schemas.microsoft.com/office/drawing/2014/main" id="{632B6148-3CA1-E39E-DCA1-132E138B868D}"/>
              </a:ext>
            </a:extLst>
          </p:cNvPr>
          <p:cNvSpPr txBox="1"/>
          <p:nvPr/>
        </p:nvSpPr>
        <p:spPr>
          <a:xfrm>
            <a:off x="6494308" y="6649964"/>
            <a:ext cx="1256031" cy="215444"/>
          </a:xfrm>
          <a:prstGeom prst="rect">
            <a:avLst/>
          </a:prstGeom>
          <a:noFill/>
          <a:effectLst>
            <a:outerShdw blurRad="50800" dist="50800" dir="5400000" algn="ctr" rotWithShape="0">
              <a:schemeClr val="bg1"/>
            </a:outerShdw>
          </a:effectLst>
        </p:spPr>
        <p:txBody>
          <a:bodyPr wrap="square" rtlCol="0" anchor="ctr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defTabSz="914387">
              <a:lnSpc>
                <a:spcPct val="100000"/>
              </a:lnSpc>
              <a:buClr>
                <a:srgbClr val="000000"/>
              </a:buClr>
              <a:defRPr/>
            </a:pPr>
            <a:r>
              <a:rPr lang="en-US" sz="800" b="1" kern="0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  <a:cs typeface="Arial"/>
                <a:sym typeface="Arial"/>
              </a:rPr>
              <a:t>Conformal Coating</a:t>
            </a:r>
          </a:p>
        </p:txBody>
      </p: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8AFCEA69-CA63-6102-8C97-63139F7283A1}"/>
              </a:ext>
            </a:extLst>
          </p:cNvPr>
          <p:cNvGrpSpPr/>
          <p:nvPr/>
        </p:nvGrpSpPr>
        <p:grpSpPr>
          <a:xfrm>
            <a:off x="6296923" y="6659725"/>
            <a:ext cx="233712" cy="233712"/>
            <a:chOff x="5224377" y="5244317"/>
            <a:chExt cx="306600" cy="306600"/>
          </a:xfrm>
        </p:grpSpPr>
        <p:sp>
          <p:nvSpPr>
            <p:cNvPr id="220" name="Oval 219">
              <a:extLst>
                <a:ext uri="{FF2B5EF4-FFF2-40B4-BE49-F238E27FC236}">
                  <a16:creationId xmlns:a16="http://schemas.microsoft.com/office/drawing/2014/main" id="{DFF299D2-C55C-C901-00E2-B9741205CA19}"/>
                </a:ext>
              </a:extLst>
            </p:cNvPr>
            <p:cNvSpPr/>
            <p:nvPr/>
          </p:nvSpPr>
          <p:spPr>
            <a:xfrm flipH="1">
              <a:off x="5224377" y="5244317"/>
              <a:ext cx="306600" cy="3066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0" dist="190500" dir="5400000" sx="90000" sy="90000" algn="t" rotWithShape="0">
                <a:prstClr val="black">
                  <a:alpha val="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87">
                <a:buClr>
                  <a:srgbClr val="000000"/>
                </a:buClr>
                <a:defRPr/>
              </a:pPr>
              <a:endParaRPr lang="id-ID" sz="1013" kern="0">
                <a:solidFill>
                  <a:srgbClr val="000000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sym typeface="Arial"/>
              </a:endParaRPr>
            </a:p>
          </p:txBody>
        </p:sp>
        <p:pic>
          <p:nvPicPr>
            <p:cNvPr id="221" name="Graphic 220" descr="Shield with solid fill">
              <a:extLst>
                <a:ext uri="{FF2B5EF4-FFF2-40B4-BE49-F238E27FC236}">
                  <a16:creationId xmlns:a16="http://schemas.microsoft.com/office/drawing/2014/main" id="{54E77571-AD01-B535-61A8-AAAD458B3B98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5261171" y="5284065"/>
              <a:ext cx="231986" cy="231986"/>
            </a:xfrm>
            <a:prstGeom prst="rect">
              <a:avLst/>
            </a:prstGeom>
          </p:spPr>
        </p:pic>
      </p:grpSp>
      <p:sp>
        <p:nvSpPr>
          <p:cNvPr id="225" name="TextBox 224">
            <a:extLst>
              <a:ext uri="{FF2B5EF4-FFF2-40B4-BE49-F238E27FC236}">
                <a16:creationId xmlns:a16="http://schemas.microsoft.com/office/drawing/2014/main" id="{613A18F7-BBDF-11AC-129A-8388D4450CDB}"/>
              </a:ext>
            </a:extLst>
          </p:cNvPr>
          <p:cNvSpPr txBox="1"/>
          <p:nvPr/>
        </p:nvSpPr>
        <p:spPr>
          <a:xfrm>
            <a:off x="7888786" y="6073893"/>
            <a:ext cx="1256031" cy="338554"/>
          </a:xfrm>
          <a:prstGeom prst="rect">
            <a:avLst/>
          </a:prstGeom>
          <a:noFill/>
          <a:effectLst>
            <a:outerShdw blurRad="50800" dist="50800" dir="5400000" algn="ctr" rotWithShape="0">
              <a:schemeClr val="bg1"/>
            </a:outerShdw>
          </a:effectLst>
        </p:spPr>
        <p:txBody>
          <a:bodyPr wrap="square" rtlCol="0" anchor="ctr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defTabSz="914387">
              <a:lnSpc>
                <a:spcPct val="100000"/>
              </a:lnSpc>
              <a:buClr>
                <a:srgbClr val="000000"/>
              </a:buClr>
              <a:defRPr/>
            </a:pPr>
            <a:r>
              <a:rPr lang="en-US" sz="800" b="1" kern="0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  <a:cs typeface="Arial"/>
                <a:sym typeface="Arial"/>
              </a:rPr>
              <a:t>In-Circuit &amp; Flying Probe Testing</a:t>
            </a:r>
          </a:p>
        </p:txBody>
      </p:sp>
      <p:grpSp>
        <p:nvGrpSpPr>
          <p:cNvPr id="226" name="Group 225">
            <a:extLst>
              <a:ext uri="{FF2B5EF4-FFF2-40B4-BE49-F238E27FC236}">
                <a16:creationId xmlns:a16="http://schemas.microsoft.com/office/drawing/2014/main" id="{A510937E-E3EC-53B8-BE45-1F1BA1359674}"/>
              </a:ext>
            </a:extLst>
          </p:cNvPr>
          <p:cNvGrpSpPr/>
          <p:nvPr/>
        </p:nvGrpSpPr>
        <p:grpSpPr>
          <a:xfrm>
            <a:off x="7736320" y="6340633"/>
            <a:ext cx="233712" cy="233712"/>
            <a:chOff x="2680445" y="5075223"/>
            <a:chExt cx="233712" cy="233712"/>
          </a:xfrm>
        </p:grpSpPr>
        <p:sp>
          <p:nvSpPr>
            <p:cNvPr id="227" name="Oval 226">
              <a:extLst>
                <a:ext uri="{FF2B5EF4-FFF2-40B4-BE49-F238E27FC236}">
                  <a16:creationId xmlns:a16="http://schemas.microsoft.com/office/drawing/2014/main" id="{73A8E827-B041-5538-C24D-B3DFB58D27CE}"/>
                </a:ext>
              </a:extLst>
            </p:cNvPr>
            <p:cNvSpPr/>
            <p:nvPr/>
          </p:nvSpPr>
          <p:spPr>
            <a:xfrm flipH="1">
              <a:off x="2680445" y="5075223"/>
              <a:ext cx="233712" cy="23371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0" dist="190500" dir="5400000" sx="90000" sy="90000" algn="t" rotWithShape="0">
                <a:prstClr val="black">
                  <a:alpha val="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87">
                <a:buClr>
                  <a:srgbClr val="000000"/>
                </a:buClr>
                <a:defRPr/>
              </a:pPr>
              <a:endParaRPr lang="id-ID" sz="1013" kern="0">
                <a:solidFill>
                  <a:srgbClr val="000000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sym typeface="Arial"/>
              </a:endParaRPr>
            </a:p>
          </p:txBody>
        </p:sp>
        <p:pic>
          <p:nvPicPr>
            <p:cNvPr id="228" name="Graphic 227" descr="Magnifying glass with solid fill">
              <a:extLst>
                <a:ext uri="{FF2B5EF4-FFF2-40B4-BE49-F238E27FC236}">
                  <a16:creationId xmlns:a16="http://schemas.microsoft.com/office/drawing/2014/main" id="{954565BE-A379-016A-1590-ACCE14959844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2722912" y="5118904"/>
              <a:ext cx="156659" cy="156659"/>
            </a:xfrm>
            <a:prstGeom prst="rect">
              <a:avLst/>
            </a:prstGeom>
          </p:spPr>
        </p:pic>
      </p:grp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F101B1D-F18B-862B-8EA1-251BA48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05584" y="7086601"/>
            <a:ext cx="8229601" cy="39319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DE18806-2B15-B53C-7133-699E40DE4BF3}"/>
              </a:ext>
            </a:extLst>
          </p:cNvPr>
          <p:cNvSpPr/>
          <p:nvPr/>
        </p:nvSpPr>
        <p:spPr>
          <a:xfrm>
            <a:off x="125287" y="3804245"/>
            <a:ext cx="4537348" cy="1195103"/>
          </a:xfrm>
          <a:prstGeom prst="rect">
            <a:avLst/>
          </a:prstGeom>
          <a:solidFill>
            <a:schemeClr val="bg1"/>
          </a:solidFill>
          <a:ln w="19050">
            <a:solidFill>
              <a:srgbClr val="E84E0E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72000" tIns="45720" rIns="91440" bIns="45720" rtlCol="0" anchor="ctr"/>
          <a:lstStyle/>
          <a:p>
            <a:pPr marL="117440" indent="-117440" defTabSz="806197">
              <a:buClr>
                <a:srgbClr val="003399"/>
              </a:buClr>
              <a:buSzPct val="100000"/>
              <a:buFontTx/>
              <a:buChar char="•"/>
              <a:defRPr/>
            </a:pPr>
            <a:r>
              <a:rPr lang="en-US" sz="1000" b="1" kern="0" dirty="0">
                <a:solidFill>
                  <a:srgbClr val="273379"/>
                </a:solidFill>
                <a:latin typeface="Montserrat" pitchFamily="2" charset="0"/>
                <a:ea typeface="Source Sans Pro Light"/>
                <a:sym typeface="Arial"/>
              </a:rPr>
              <a:t>55,000 Sq. Ft. Facility</a:t>
            </a:r>
          </a:p>
          <a:p>
            <a:pPr marL="117440" indent="-117440" defTabSz="806197">
              <a:buClr>
                <a:srgbClr val="003399"/>
              </a:buClr>
              <a:buSzPct val="100000"/>
              <a:buFontTx/>
              <a:buChar char="•"/>
              <a:defRPr/>
            </a:pPr>
            <a:r>
              <a:rPr lang="en-US" sz="1000" b="1" kern="0" dirty="0">
                <a:solidFill>
                  <a:srgbClr val="273379"/>
                </a:solidFill>
                <a:latin typeface="Montserrat" pitchFamily="2" charset="0"/>
                <a:sym typeface="Arial"/>
              </a:rPr>
              <a:t>Mid - High Volume Production</a:t>
            </a:r>
          </a:p>
          <a:p>
            <a:pPr marL="117440" indent="-117440" defTabSz="806197">
              <a:buClr>
                <a:srgbClr val="003399"/>
              </a:buClr>
              <a:buSzPct val="100000"/>
              <a:buFontTx/>
              <a:buChar char="•"/>
              <a:defRPr/>
            </a:pPr>
            <a:r>
              <a:rPr lang="en-US" sz="1000" b="1" kern="0" dirty="0">
                <a:solidFill>
                  <a:srgbClr val="273379"/>
                </a:solidFill>
                <a:latin typeface="Montserrat" pitchFamily="2" charset="0"/>
                <a:sym typeface="Arial"/>
              </a:rPr>
              <a:t>5 Fully Automated SMT Production Lines </a:t>
            </a:r>
          </a:p>
          <a:p>
            <a:pPr marL="117440" indent="-117440" defTabSz="806197">
              <a:buClr>
                <a:srgbClr val="003399"/>
              </a:buClr>
              <a:buSzPct val="100000"/>
              <a:buFontTx/>
              <a:buChar char="•"/>
              <a:defRPr/>
            </a:pPr>
            <a:r>
              <a:rPr lang="en-US" sz="1000" b="1" kern="0" dirty="0">
                <a:solidFill>
                  <a:srgbClr val="273379"/>
                </a:solidFill>
                <a:latin typeface="Montserrat" pitchFamily="2" charset="0"/>
                <a:sym typeface="Arial"/>
              </a:rPr>
              <a:t>Box Build Work Cells</a:t>
            </a:r>
          </a:p>
          <a:p>
            <a:pPr marL="117440" indent="-117440" defTabSz="806197">
              <a:buClr>
                <a:srgbClr val="003399"/>
              </a:buClr>
              <a:buSzPct val="100000"/>
              <a:buFontTx/>
              <a:buChar char="•"/>
              <a:defRPr/>
            </a:pPr>
            <a:r>
              <a:rPr lang="en-US" sz="1000" b="1" kern="0" dirty="0">
                <a:solidFill>
                  <a:srgbClr val="273379"/>
                </a:solidFill>
                <a:latin typeface="Montserrat" pitchFamily="2" charset="0"/>
                <a:sym typeface="Arial"/>
              </a:rPr>
              <a:t>In-Circuit, Flying Probe &amp; Functional Testing</a:t>
            </a:r>
          </a:p>
          <a:p>
            <a:pPr marL="117440" indent="-117440" defTabSz="806197">
              <a:buClr>
                <a:srgbClr val="003399"/>
              </a:buClr>
              <a:buSzPct val="100000"/>
              <a:buFontTx/>
              <a:buChar char="•"/>
              <a:defRPr/>
            </a:pPr>
            <a:r>
              <a:rPr lang="en-US" sz="1000" b="1" kern="0" dirty="0">
                <a:solidFill>
                  <a:srgbClr val="273379"/>
                </a:solidFill>
                <a:latin typeface="Montserrat" pitchFamily="2" charset="0"/>
                <a:sym typeface="Arial"/>
              </a:rPr>
              <a:t>Conformal Coating &amp; Encapsulation</a:t>
            </a:r>
          </a:p>
          <a:p>
            <a:pPr marL="117440" indent="-117440" defTabSz="806197">
              <a:buClr>
                <a:srgbClr val="003399"/>
              </a:buClr>
              <a:buSzPct val="100000"/>
              <a:buFontTx/>
              <a:buChar char="•"/>
              <a:defRPr/>
            </a:pPr>
            <a:r>
              <a:rPr lang="en-US" sz="1000" b="1" kern="0" dirty="0">
                <a:solidFill>
                  <a:srgbClr val="273379"/>
                </a:solidFill>
                <a:latin typeface="Montserrat" pitchFamily="2" charset="0"/>
                <a:sym typeface="Arial"/>
              </a:rPr>
              <a:t>Team Size: 100+ Employees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5CC7B6F3-5C08-C4B1-BFDC-644C5269255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172" y="4041356"/>
            <a:ext cx="728772" cy="728772"/>
          </a:xfrm>
          <a:prstGeom prst="rect">
            <a:avLst/>
          </a:prstGeom>
        </p:spPr>
      </p:pic>
      <p:sp>
        <p:nvSpPr>
          <p:cNvPr id="88" name="Rectangle 87">
            <a:extLst>
              <a:ext uri="{FF2B5EF4-FFF2-40B4-BE49-F238E27FC236}">
                <a16:creationId xmlns:a16="http://schemas.microsoft.com/office/drawing/2014/main" id="{A2C265F1-67FD-9305-6488-3F4696E54955}"/>
              </a:ext>
            </a:extLst>
          </p:cNvPr>
          <p:cNvSpPr/>
          <p:nvPr/>
        </p:nvSpPr>
        <p:spPr>
          <a:xfrm>
            <a:off x="9136215" y="5764485"/>
            <a:ext cx="3994340" cy="281831"/>
          </a:xfrm>
          <a:prstGeom prst="rect">
            <a:avLst/>
          </a:prstGeom>
          <a:solidFill>
            <a:srgbClr val="E84E0E"/>
          </a:solidFill>
          <a:ln w="19050">
            <a:solidFill>
              <a:srgbClr val="E84E0E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 defTabSz="806197">
              <a:buClr>
                <a:srgbClr val="003399"/>
              </a:buClr>
              <a:buSzPct val="100000"/>
              <a:defRPr/>
            </a:pPr>
            <a:r>
              <a:rPr lang="en-US" sz="1200" b="1" i="1" kern="0">
                <a:solidFill>
                  <a:srgbClr val="FFFFFF"/>
                </a:solidFill>
                <a:latin typeface="Montserrat" pitchFamily="2" charset="0"/>
                <a:ea typeface="Source Sans Pro Light"/>
                <a:sym typeface="Arial"/>
              </a:rPr>
              <a:t>PCBA</a:t>
            </a:r>
            <a:r>
              <a:rPr lang="en-US" sz="1200" b="1" kern="0">
                <a:solidFill>
                  <a:srgbClr val="FFFFFF"/>
                </a:solidFill>
                <a:latin typeface="Montserrat" pitchFamily="2" charset="0"/>
                <a:ea typeface="Source Sans Pro Light"/>
                <a:sym typeface="Arial"/>
              </a:rPr>
              <a:t> Services (Ahmedabad, India)</a:t>
            </a:r>
            <a:endParaRPr lang="en-US" sz="1200" b="1" kern="0">
              <a:solidFill>
                <a:srgbClr val="FFFFFF"/>
              </a:solidFill>
              <a:latin typeface="Montserrat" pitchFamily="2" charset="0"/>
              <a:sym typeface="Arial"/>
            </a:endParaRPr>
          </a:p>
        </p:txBody>
      </p:sp>
      <p:pic>
        <p:nvPicPr>
          <p:cNvPr id="90" name="Picture 89">
            <a:extLst>
              <a:ext uri="{FF2B5EF4-FFF2-40B4-BE49-F238E27FC236}">
                <a16:creationId xmlns:a16="http://schemas.microsoft.com/office/drawing/2014/main" id="{C26F2BCF-C292-979D-6A41-7A6902EE3535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13516" y="6141113"/>
            <a:ext cx="745311" cy="745311"/>
          </a:xfrm>
          <a:prstGeom prst="rect">
            <a:avLst/>
          </a:prstGeom>
          <a:ln>
            <a:noFill/>
          </a:ln>
        </p:spPr>
      </p:pic>
      <p:sp>
        <p:nvSpPr>
          <p:cNvPr id="91" name="Rectangle 90">
            <a:extLst>
              <a:ext uri="{FF2B5EF4-FFF2-40B4-BE49-F238E27FC236}">
                <a16:creationId xmlns:a16="http://schemas.microsoft.com/office/drawing/2014/main" id="{105014A8-589F-DDC5-BE6F-26BED3DDBC77}"/>
              </a:ext>
            </a:extLst>
          </p:cNvPr>
          <p:cNvSpPr/>
          <p:nvPr/>
        </p:nvSpPr>
        <p:spPr>
          <a:xfrm>
            <a:off x="9136215" y="6054218"/>
            <a:ext cx="3994340" cy="851777"/>
          </a:xfrm>
          <a:prstGeom prst="rect">
            <a:avLst/>
          </a:prstGeom>
          <a:solidFill>
            <a:schemeClr val="bg1"/>
          </a:solidFill>
          <a:ln w="19050">
            <a:solidFill>
              <a:srgbClr val="E84E0E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72000" tIns="45720" rIns="91440" bIns="45720" rtlCol="0" anchor="ctr"/>
          <a:lstStyle/>
          <a:p>
            <a:pPr marL="117440" indent="-117440" defTabSz="806197">
              <a:buClr>
                <a:srgbClr val="003399"/>
              </a:buClr>
              <a:buSzPct val="100000"/>
              <a:buFontTx/>
              <a:buChar char="•"/>
              <a:defRPr/>
            </a:pPr>
            <a:r>
              <a:rPr lang="en-US" sz="1000" b="1" kern="0" dirty="0">
                <a:solidFill>
                  <a:srgbClr val="273379"/>
                </a:solidFill>
                <a:latin typeface="Montserrat" pitchFamily="2" charset="0"/>
                <a:ea typeface="Source Sans Pro Light"/>
                <a:sym typeface="Arial"/>
              </a:rPr>
              <a:t>Commercial Market Centralized Internal Support Staff</a:t>
            </a:r>
          </a:p>
          <a:p>
            <a:pPr marL="117440" indent="-117440" defTabSz="806197">
              <a:buClr>
                <a:srgbClr val="003399"/>
              </a:buClr>
              <a:buSzPct val="100000"/>
              <a:buFontTx/>
              <a:buChar char="•"/>
              <a:defRPr/>
            </a:pPr>
            <a:r>
              <a:rPr lang="en-US" sz="1000" b="1" kern="0" dirty="0">
                <a:solidFill>
                  <a:srgbClr val="273379"/>
                </a:solidFill>
                <a:latin typeface="Montserrat" pitchFamily="2" charset="0"/>
                <a:sym typeface="Arial"/>
              </a:rPr>
              <a:t>Sales, Accounting, Quoting, Engineering &amp; Purchasing</a:t>
            </a:r>
          </a:p>
          <a:p>
            <a:pPr marL="117440" indent="-117440" defTabSz="806197">
              <a:buClr>
                <a:srgbClr val="003399"/>
              </a:buClr>
              <a:buSzPct val="100000"/>
              <a:buFontTx/>
              <a:buChar char="•"/>
              <a:defRPr/>
            </a:pPr>
            <a:r>
              <a:rPr lang="en-US" sz="1000" b="1" kern="0" dirty="0">
                <a:solidFill>
                  <a:srgbClr val="273379"/>
                </a:solidFill>
                <a:latin typeface="Montserrat" pitchFamily="2" charset="0"/>
                <a:sym typeface="Arial"/>
              </a:rPr>
              <a:t>Team Size: 33</a:t>
            </a:r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8D227F1E-BF01-626D-F90A-1820B7631A82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26180" y="6249677"/>
            <a:ext cx="864777" cy="390297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79CDEDD-E221-3810-BC8A-CCC10A2DE90F}"/>
              </a:ext>
            </a:extLst>
          </p:cNvPr>
          <p:cNvCxnSpPr>
            <a:cxnSpLocks/>
            <a:stCxn id="70" idx="3"/>
          </p:cNvCxnSpPr>
          <p:nvPr/>
        </p:nvCxnSpPr>
        <p:spPr>
          <a:xfrm>
            <a:off x="4671036" y="2910433"/>
            <a:ext cx="2006503" cy="2945932"/>
          </a:xfrm>
          <a:prstGeom prst="line">
            <a:avLst/>
          </a:prstGeom>
          <a:ln w="28575">
            <a:solidFill>
              <a:srgbClr val="E45507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6DFAB7-36DF-303F-92E4-8DB7B3C62B6D}"/>
              </a:ext>
            </a:extLst>
          </p:cNvPr>
          <p:cNvCxnSpPr>
            <a:cxnSpLocks/>
          </p:cNvCxnSpPr>
          <p:nvPr/>
        </p:nvCxnSpPr>
        <p:spPr>
          <a:xfrm>
            <a:off x="4692971" y="4057816"/>
            <a:ext cx="1898395" cy="1666657"/>
          </a:xfrm>
          <a:prstGeom prst="line">
            <a:avLst/>
          </a:prstGeom>
          <a:ln w="28575">
            <a:solidFill>
              <a:srgbClr val="E45507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C76C5FB-DF21-E46F-7ADC-04419E23FE52}"/>
              </a:ext>
            </a:extLst>
          </p:cNvPr>
          <p:cNvCxnSpPr>
            <a:cxnSpLocks/>
          </p:cNvCxnSpPr>
          <p:nvPr/>
        </p:nvCxnSpPr>
        <p:spPr>
          <a:xfrm>
            <a:off x="4676168" y="5306849"/>
            <a:ext cx="1820382" cy="318614"/>
          </a:xfrm>
          <a:prstGeom prst="line">
            <a:avLst/>
          </a:prstGeom>
          <a:ln w="28575">
            <a:solidFill>
              <a:srgbClr val="E45507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4" name="TextBox 233">
            <a:extLst>
              <a:ext uri="{FF2B5EF4-FFF2-40B4-BE49-F238E27FC236}">
                <a16:creationId xmlns:a16="http://schemas.microsoft.com/office/drawing/2014/main" id="{65D82E26-046B-84B1-883C-48C3FA1BACF5}"/>
              </a:ext>
            </a:extLst>
          </p:cNvPr>
          <p:cNvSpPr txBox="1"/>
          <p:nvPr/>
        </p:nvSpPr>
        <p:spPr>
          <a:xfrm>
            <a:off x="7906051" y="6399748"/>
            <a:ext cx="1379276" cy="215444"/>
          </a:xfrm>
          <a:prstGeom prst="rect">
            <a:avLst/>
          </a:prstGeom>
          <a:noFill/>
          <a:effectLst>
            <a:outerShdw blurRad="50800" dist="50800" dir="5400000" algn="ctr" rotWithShape="0">
              <a:schemeClr val="bg1"/>
            </a:outerShdw>
          </a:effectLst>
        </p:spPr>
        <p:txBody>
          <a:bodyPr wrap="square" rtlCol="0" anchor="ctr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defTabSz="914387">
              <a:lnSpc>
                <a:spcPct val="100000"/>
              </a:lnSpc>
              <a:buClr>
                <a:srgbClr val="000000"/>
              </a:buClr>
              <a:defRPr/>
            </a:pPr>
            <a:r>
              <a:rPr lang="en-US" sz="800" b="1" kern="0" dirty="0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  <a:cs typeface="Arial"/>
                <a:sym typeface="Arial"/>
              </a:rPr>
              <a:t>Functional Testi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D4A04C4-459A-E8AF-96BE-51A98B8958FD}"/>
              </a:ext>
            </a:extLst>
          </p:cNvPr>
          <p:cNvSpPr txBox="1"/>
          <p:nvPr/>
        </p:nvSpPr>
        <p:spPr>
          <a:xfrm>
            <a:off x="5941944" y="4191362"/>
            <a:ext cx="942887" cy="523220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00000"/>
            </a:outerShdw>
          </a:effectLst>
        </p:spPr>
        <p:txBody>
          <a:bodyPr wrap="none" rtlCol="0">
            <a:spAutoFit/>
          </a:bodyPr>
          <a:lstStyle/>
          <a:p>
            <a:pPr defTabSz="914409">
              <a:defRPr/>
            </a:pPr>
            <a:r>
              <a:rPr lang="en-US" sz="2800" b="1">
                <a:solidFill>
                  <a:srgbClr val="FFFFFF"/>
                </a:solidFill>
              </a:rPr>
              <a:t>US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AD5E670-F934-F35D-0089-E0713E7F8BE6}"/>
              </a:ext>
            </a:extLst>
          </p:cNvPr>
          <p:cNvSpPr txBox="1"/>
          <p:nvPr/>
        </p:nvSpPr>
        <p:spPr>
          <a:xfrm>
            <a:off x="10401997" y="3888312"/>
            <a:ext cx="1023037" cy="523220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00000"/>
            </a:outerShdw>
          </a:effectLst>
        </p:spPr>
        <p:txBody>
          <a:bodyPr wrap="none" rtlCol="0">
            <a:spAutoFit/>
          </a:bodyPr>
          <a:lstStyle/>
          <a:p>
            <a:pPr defTabSz="914409">
              <a:defRPr/>
            </a:pPr>
            <a:r>
              <a:rPr lang="en-US" sz="2800" b="1">
                <a:solidFill>
                  <a:srgbClr val="FFFFFF"/>
                </a:solidFill>
              </a:rPr>
              <a:t>Indi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6C190A-F348-BBEC-52F8-024EECACF31F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4541" y="3740865"/>
            <a:ext cx="481479" cy="226295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F9274815-1347-5EDC-5054-9E4E08023407}"/>
              </a:ext>
            </a:extLst>
          </p:cNvPr>
          <p:cNvSpPr/>
          <p:nvPr/>
        </p:nvSpPr>
        <p:spPr bwMode="auto">
          <a:xfrm>
            <a:off x="7867660" y="3485184"/>
            <a:ext cx="473561" cy="467739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 contourW="50800">
            <a:bevelT w="0"/>
            <a:extrusionClr>
              <a:schemeClr val="tx1"/>
            </a:extrusionClr>
            <a:contourClr>
              <a:srgbClr val="E84E0E"/>
            </a:contourClr>
          </a:sp3d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69937">
              <a:lnSpc>
                <a:spcPct val="90000"/>
              </a:lnSpc>
              <a:defRPr/>
            </a:pPr>
            <a:endParaRPr lang="en-US" sz="1200" b="1" kern="0">
              <a:solidFill>
                <a:srgbClr val="FFFFFF"/>
              </a:solidFill>
              <a:latin typeface="Arial" panose="020B0604020202020204" pitchFamily="34" charset="0"/>
              <a:cs typeface="Arial"/>
              <a:sym typeface="Arial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F265006-A3C2-658E-7385-19116765140F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8431" y="3649714"/>
            <a:ext cx="462790" cy="120326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56DF8947-DA76-6949-DA31-3FEF87505B63}"/>
              </a:ext>
            </a:extLst>
          </p:cNvPr>
          <p:cNvSpPr/>
          <p:nvPr/>
        </p:nvSpPr>
        <p:spPr bwMode="auto">
          <a:xfrm>
            <a:off x="8253494" y="3159363"/>
            <a:ext cx="473561" cy="467739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 contourW="50800">
            <a:bevelT w="0"/>
            <a:extrusionClr>
              <a:schemeClr val="tx1"/>
            </a:extrusionClr>
            <a:contourClr>
              <a:srgbClr val="E84E0E"/>
            </a:contourClr>
          </a:sp3d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69937">
              <a:lnSpc>
                <a:spcPct val="90000"/>
              </a:lnSpc>
              <a:defRPr/>
            </a:pPr>
            <a:endParaRPr lang="en-US" sz="1200" b="1" kern="0">
              <a:solidFill>
                <a:srgbClr val="FFFFFF"/>
              </a:solidFill>
              <a:latin typeface="Arial" panose="020B0604020202020204" pitchFamily="34" charset="0"/>
              <a:cs typeface="Arial"/>
              <a:sym typeface="Arial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74257AF1-2C0D-DCAA-5A50-415535A91D11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7659" y="3181349"/>
            <a:ext cx="425232" cy="425232"/>
          </a:xfrm>
          <a:prstGeom prst="rect">
            <a:avLst/>
          </a:prstGeom>
        </p:spPr>
      </p:pic>
      <p:sp>
        <p:nvSpPr>
          <p:cNvPr id="30" name="Oval 29">
            <a:extLst>
              <a:ext uri="{FF2B5EF4-FFF2-40B4-BE49-F238E27FC236}">
                <a16:creationId xmlns:a16="http://schemas.microsoft.com/office/drawing/2014/main" id="{B8790496-6183-67CB-E9CD-B52137875E2D}"/>
              </a:ext>
            </a:extLst>
          </p:cNvPr>
          <p:cNvSpPr/>
          <p:nvPr/>
        </p:nvSpPr>
        <p:spPr bwMode="auto">
          <a:xfrm>
            <a:off x="9789573" y="3546722"/>
            <a:ext cx="473561" cy="467739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 contourW="50800">
            <a:bevelT w="0"/>
            <a:extrusionClr>
              <a:schemeClr val="tx1"/>
            </a:extrusionClr>
            <a:contourClr>
              <a:srgbClr val="E84E0E"/>
            </a:contourClr>
          </a:sp3d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69937">
              <a:lnSpc>
                <a:spcPct val="90000"/>
              </a:lnSpc>
              <a:defRPr/>
            </a:pPr>
            <a:endParaRPr lang="en-US" sz="1200" b="1" kern="0">
              <a:solidFill>
                <a:srgbClr val="FFFFFF"/>
              </a:solidFill>
              <a:latin typeface="Arial" panose="020B0604020202020204" pitchFamily="34" charset="0"/>
              <a:cs typeface="Arial"/>
              <a:sym typeface="Arial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B0200990-B75E-BEC5-4D68-4D4EA6CDB4BC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9573" y="3660370"/>
            <a:ext cx="487179" cy="219878"/>
          </a:xfrm>
          <a:prstGeom prst="rect">
            <a:avLst/>
          </a:prstGeom>
        </p:spPr>
      </p:pic>
      <p:sp>
        <p:nvSpPr>
          <p:cNvPr id="230" name="TextBox 229">
            <a:extLst>
              <a:ext uri="{FF2B5EF4-FFF2-40B4-BE49-F238E27FC236}">
                <a16:creationId xmlns:a16="http://schemas.microsoft.com/office/drawing/2014/main" id="{BE8413F7-6870-EF5C-C516-EF768514D090}"/>
              </a:ext>
            </a:extLst>
          </p:cNvPr>
          <p:cNvSpPr txBox="1"/>
          <p:nvPr/>
        </p:nvSpPr>
        <p:spPr>
          <a:xfrm>
            <a:off x="5871952" y="269090"/>
            <a:ext cx="3877985" cy="584775"/>
          </a:xfrm>
          <a:prstGeom prst="rect">
            <a:avLst/>
          </a:prstGeom>
          <a:noFill/>
          <a:effectLst>
            <a:outerShdw blurRad="50800" dist="50800" sx="1000" sy="1000" algn="ctr" rotWithShape="0">
              <a:srgbClr val="273379"/>
            </a:outerShdw>
          </a:effectLst>
        </p:spPr>
        <p:txBody>
          <a:bodyPr wrap="none" rtlCol="0">
            <a:spAutoFit/>
          </a:bodyPr>
          <a:lstStyle/>
          <a:p>
            <a:pPr defTabSz="914409">
              <a:defRPr/>
            </a:pPr>
            <a:r>
              <a:rPr lang="en-US" sz="3200" b="1">
                <a:solidFill>
                  <a:srgbClr val="2733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pitchFamily="2" charset="0"/>
              </a:rPr>
              <a:t>Facility Overview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E9B094DF-E01B-5469-A62F-A910832CF1C9}"/>
              </a:ext>
            </a:extLst>
          </p:cNvPr>
          <p:cNvSpPr txBox="1"/>
          <p:nvPr/>
        </p:nvSpPr>
        <p:spPr>
          <a:xfrm>
            <a:off x="3367158" y="1216720"/>
            <a:ext cx="8590814" cy="438582"/>
          </a:xfrm>
          <a:prstGeom prst="rect">
            <a:avLst/>
          </a:prstGeom>
          <a:noFill/>
          <a:effectLst>
            <a:outerShdw sx="1000" sy="1000" algn="ctr" rotWithShape="0">
              <a:srgbClr val="E84E0E"/>
            </a:outerShdw>
          </a:effectLst>
        </p:spPr>
        <p:txBody>
          <a:bodyPr wrap="none" rtlCol="0">
            <a:spAutoFit/>
          </a:bodyPr>
          <a:lstStyle/>
          <a:p>
            <a:pPr marL="0" marR="0" lvl="0" indent="0" algn="ctr" defTabSz="887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99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solidFill>
                  <a:srgbClr val="2733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" pitchFamily="2" charset="0"/>
                <a:ea typeface="+mn-ea"/>
                <a:cs typeface="+mn-cs"/>
              </a:rPr>
              <a:t>Accelerating </a:t>
            </a:r>
            <a:r>
              <a:rPr kumimoji="0" lang="en-US" sz="2250" b="1" i="0" u="sng" strike="noStrike" kern="0" cap="none" spc="0" normalizeH="0" baseline="0" noProof="0" dirty="0">
                <a:ln>
                  <a:noFill/>
                </a:ln>
                <a:solidFill>
                  <a:srgbClr val="2733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" pitchFamily="2" charset="0"/>
                <a:ea typeface="+mn-ea"/>
                <a:cs typeface="+mn-cs"/>
              </a:rPr>
              <a:t>Time to Market</a:t>
            </a:r>
            <a:r>
              <a:rPr kumimoji="0" lang="en-US" sz="2250" b="1" i="0" strike="noStrike" kern="0" cap="none" spc="0" normalizeH="0" baseline="0" noProof="0" dirty="0">
                <a:ln>
                  <a:noFill/>
                </a:ln>
                <a:solidFill>
                  <a:srgbClr val="2733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" pitchFamily="2" charset="0"/>
                <a:ea typeface="+mn-ea"/>
                <a:cs typeface="+mn-cs"/>
              </a:rPr>
              <a:t> </a:t>
            </a: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solidFill>
                  <a:srgbClr val="2733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" pitchFamily="2" charset="0"/>
                <a:ea typeface="+mn-ea"/>
                <a:cs typeface="+mn-cs"/>
              </a:rPr>
              <a:t>with Full Turnkey Solu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7B0F9D8-3DFA-BF29-5902-0D6BF798894E}"/>
              </a:ext>
            </a:extLst>
          </p:cNvPr>
          <p:cNvSpPr txBox="1"/>
          <p:nvPr/>
        </p:nvSpPr>
        <p:spPr>
          <a:xfrm>
            <a:off x="7853176" y="6622753"/>
            <a:ext cx="1379276" cy="215444"/>
          </a:xfrm>
          <a:prstGeom prst="rect">
            <a:avLst/>
          </a:prstGeom>
          <a:noFill/>
          <a:effectLst>
            <a:outerShdw blurRad="50800" dist="50800" dir="5400000" algn="ctr" rotWithShape="0">
              <a:schemeClr val="bg1"/>
            </a:outerShdw>
          </a:effectLst>
        </p:spPr>
        <p:txBody>
          <a:bodyPr wrap="square" rtlCol="0" anchor="ctr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defTabSz="914387">
              <a:lnSpc>
                <a:spcPct val="100000"/>
              </a:lnSpc>
              <a:buClr>
                <a:srgbClr val="000000"/>
              </a:buClr>
              <a:defRPr/>
            </a:pPr>
            <a:r>
              <a:rPr lang="en-US" sz="800" b="1" kern="0" dirty="0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  <a:cs typeface="Arial"/>
                <a:sym typeface="Arial"/>
              </a:rPr>
              <a:t>ITAR Quoting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D6336E9-4AFF-C407-EE69-BC6B9A6FCD4E}"/>
              </a:ext>
            </a:extLst>
          </p:cNvPr>
          <p:cNvGrpSpPr/>
          <p:nvPr/>
        </p:nvGrpSpPr>
        <p:grpSpPr>
          <a:xfrm>
            <a:off x="7719394" y="6614283"/>
            <a:ext cx="233712" cy="233712"/>
            <a:chOff x="2680445" y="5075223"/>
            <a:chExt cx="233712" cy="233712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D2C0F03-0D98-F6FE-CAFB-61F573771460}"/>
                </a:ext>
              </a:extLst>
            </p:cNvPr>
            <p:cNvSpPr/>
            <p:nvPr/>
          </p:nvSpPr>
          <p:spPr>
            <a:xfrm flipH="1">
              <a:off x="2680445" y="5075223"/>
              <a:ext cx="233712" cy="23371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0" dist="190500" dir="5400000" sx="90000" sy="90000" algn="t" rotWithShape="0">
                <a:prstClr val="black">
                  <a:alpha val="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87">
                <a:buClr>
                  <a:srgbClr val="000000"/>
                </a:buClr>
                <a:defRPr/>
              </a:pPr>
              <a:endParaRPr lang="id-ID" sz="1013" kern="0">
                <a:solidFill>
                  <a:srgbClr val="000000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sym typeface="Arial"/>
              </a:endParaRPr>
            </a:p>
          </p:txBody>
        </p:sp>
        <p:pic>
          <p:nvPicPr>
            <p:cNvPr id="8" name="Graphic 7" descr="Magnifying glass with solid fill">
              <a:extLst>
                <a:ext uri="{FF2B5EF4-FFF2-40B4-BE49-F238E27FC236}">
                  <a16:creationId xmlns:a16="http://schemas.microsoft.com/office/drawing/2014/main" id="{CEABC451-98D7-1D31-1BEB-62C8C276B7F9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2722912" y="5118904"/>
              <a:ext cx="156659" cy="15665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24972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2F6615D-DE58-6B5B-4D97-6AC5FB4FC8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779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05" imgH="405" progId="TCLayout.ActiveDocument.1">
                  <p:embed/>
                </p:oleObj>
              </mc:Choice>
              <mc:Fallback>
                <p:oleObj name="think-cell Slide" r:id="rId12" imgW="405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F6615D-DE58-6B5B-4D97-6AC5FB4FC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6779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Rectangle 92">
            <a:extLst>
              <a:ext uri="{FF2B5EF4-FFF2-40B4-BE49-F238E27FC236}">
                <a16:creationId xmlns:a16="http://schemas.microsoft.com/office/drawing/2014/main" id="{6D8781C3-B22A-5EF9-98F6-AE03BBD756CF}"/>
              </a:ext>
            </a:extLst>
          </p:cNvPr>
          <p:cNvSpPr/>
          <p:nvPr/>
        </p:nvSpPr>
        <p:spPr bwMode="auto">
          <a:xfrm>
            <a:off x="4382612" y="2656056"/>
            <a:ext cx="1662475" cy="1311300"/>
          </a:xfrm>
          <a:prstGeom prst="rect">
            <a:avLst/>
          </a:prstGeom>
          <a:solidFill>
            <a:srgbClr val="27337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869977"/>
            <a:endParaRPr lang="en-US" sz="1400" b="1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D2C7AA6-2F46-0D01-B824-1D24158BF8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23912" y="1902286"/>
            <a:ext cx="8274049" cy="296863"/>
          </a:xfrm>
        </p:spPr>
        <p:txBody>
          <a:bodyPr/>
          <a:lstStyle/>
          <a:p>
            <a:r>
              <a:rPr lang="en-US" sz="2200" b="1" dirty="0">
                <a:solidFill>
                  <a:srgbClr val="273379"/>
                </a:solidFill>
                <a:latin typeface="Montserrat" pitchFamily="2" charset="0"/>
              </a:rPr>
              <a:t>Seasoned Experts Driving Growth</a:t>
            </a:r>
          </a:p>
          <a:p>
            <a:pPr algn="ctr"/>
            <a:r>
              <a:rPr lang="en-US" b="1" dirty="0">
                <a:solidFill>
                  <a:srgbClr val="E84E0E"/>
                </a:solidFill>
                <a:latin typeface="Montserrat" pitchFamily="2" charset="0"/>
              </a:rPr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E6551E-F1EE-A182-0125-06736AAB27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26951" y="3459412"/>
            <a:ext cx="8274049" cy="295275"/>
          </a:xfrm>
        </p:spPr>
        <p:txBody>
          <a:bodyPr vert="horz"/>
          <a:lstStyle/>
          <a:p>
            <a:br>
              <a:rPr lang="en-US" dirty="0"/>
            </a:br>
            <a:br>
              <a:rPr lang="en-US" dirty="0"/>
            </a:br>
            <a:endParaRPr lang="en-US" dirty="0">
              <a:latin typeface="Montserrat" pitchFamily="2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5557F4-58E3-46E7-4880-F24CD00CA57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960253" y="1016883"/>
            <a:ext cx="9445625" cy="277813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800" b="1" u="sng" dirty="0">
                <a:solidFill>
                  <a:srgbClr val="2733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pitchFamily="2" charset="0"/>
              </a:rPr>
              <a:t>Executive Leadership Team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D69A997-5ED6-17A2-CD52-F24B27F922F9}"/>
              </a:ext>
            </a:extLst>
          </p:cNvPr>
          <p:cNvSpPr/>
          <p:nvPr/>
        </p:nvSpPr>
        <p:spPr bwMode="auto">
          <a:xfrm>
            <a:off x="7926299" y="4742584"/>
            <a:ext cx="1097280" cy="640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28575" cap="flat" cmpd="sng" algn="ctr">
            <a:solidFill>
              <a:srgbClr val="2733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500" tIns="35100" rIns="67500" bIns="35100" numCol="1" rtlCol="0" anchor="ctr" anchorCtr="0" compatLnSpc="1">
            <a:prstTxWarp prst="textNoShape">
              <a:avLst/>
            </a:prstTxWarp>
          </a:bodyPr>
          <a:lstStyle/>
          <a:p>
            <a:pPr defTabSz="652489">
              <a:defRPr/>
            </a:pPr>
            <a:endParaRPr lang="en-US" sz="1051" b="1" kern="0">
              <a:cs typeface="Arial"/>
              <a:sym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C18450E-00FF-83C2-DCD4-F1D099BE5247}"/>
              </a:ext>
            </a:extLst>
          </p:cNvPr>
          <p:cNvSpPr/>
          <p:nvPr/>
        </p:nvSpPr>
        <p:spPr bwMode="auto">
          <a:xfrm>
            <a:off x="4785124" y="2786509"/>
            <a:ext cx="3729696" cy="113772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500" tIns="35100" rIns="67500" bIns="35100" numCol="1" rtlCol="0" anchor="ctr" anchorCtr="0" compatLnSpc="1">
            <a:prstTxWarp prst="textNoShape">
              <a:avLst/>
            </a:prstTxWarp>
          </a:bodyPr>
          <a:lstStyle/>
          <a:p>
            <a:pPr defTabSz="652489">
              <a:defRPr/>
            </a:pPr>
            <a:endParaRPr lang="en-US" sz="1051" b="1" kern="0">
              <a:cs typeface="Arial"/>
              <a:sym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3523B0-CFBF-5795-9690-C9A724914894}"/>
              </a:ext>
            </a:extLst>
          </p:cNvPr>
          <p:cNvSpPr/>
          <p:nvPr/>
        </p:nvSpPr>
        <p:spPr bwMode="auto">
          <a:xfrm>
            <a:off x="6699271" y="4736281"/>
            <a:ext cx="1104690" cy="640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28575" cap="flat" cmpd="sng" algn="ctr">
            <a:solidFill>
              <a:srgbClr val="2733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500" tIns="35100" rIns="67500" bIns="35100" numCol="1" rtlCol="0" anchor="ctr" anchorCtr="0" compatLnSpc="1">
            <a:prstTxWarp prst="textNoShape">
              <a:avLst/>
            </a:prstTxWarp>
          </a:bodyPr>
          <a:lstStyle/>
          <a:p>
            <a:pPr defTabSz="652489">
              <a:defRPr/>
            </a:pPr>
            <a:endParaRPr lang="en-US" sz="1051" b="1" kern="0">
              <a:cs typeface="Arial"/>
              <a:sym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F90C93-C87B-DED1-2774-0619E8928392}"/>
              </a:ext>
            </a:extLst>
          </p:cNvPr>
          <p:cNvSpPr/>
          <p:nvPr/>
        </p:nvSpPr>
        <p:spPr bwMode="auto">
          <a:xfrm>
            <a:off x="5506596" y="4728281"/>
            <a:ext cx="1097280" cy="640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28575" cap="flat" cmpd="sng" algn="ctr">
            <a:solidFill>
              <a:srgbClr val="2733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500" tIns="35100" rIns="67500" bIns="35100" numCol="1" rtlCol="0" anchor="ctr" anchorCtr="0" compatLnSpc="1">
            <a:prstTxWarp prst="textNoShape">
              <a:avLst/>
            </a:prstTxWarp>
          </a:bodyPr>
          <a:lstStyle/>
          <a:p>
            <a:pPr defTabSz="652489">
              <a:defRPr/>
            </a:pPr>
            <a:endParaRPr lang="en-US" sz="1051" b="1" kern="0">
              <a:cs typeface="Arial"/>
              <a:sym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CE96FB7-DC1D-6A4A-4E0A-3A471B11126C}"/>
              </a:ext>
            </a:extLst>
          </p:cNvPr>
          <p:cNvSpPr/>
          <p:nvPr/>
        </p:nvSpPr>
        <p:spPr bwMode="auto">
          <a:xfrm>
            <a:off x="4312272" y="4730875"/>
            <a:ext cx="1097280" cy="640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28575" cap="flat" cmpd="sng" algn="ctr">
            <a:solidFill>
              <a:srgbClr val="2733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500" tIns="35100" rIns="67500" bIns="35100" numCol="1" rtlCol="0" anchor="ctr" anchorCtr="0" compatLnSpc="1">
            <a:prstTxWarp prst="textNoShape">
              <a:avLst/>
            </a:prstTxWarp>
          </a:bodyPr>
          <a:lstStyle/>
          <a:p>
            <a:pPr defTabSz="652489">
              <a:defRPr/>
            </a:pPr>
            <a:endParaRPr lang="en-US" sz="1051" b="1" kern="0">
              <a:cs typeface="Arial"/>
              <a:sym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6DAEC9-18A6-7875-B6B9-876EE2A71037}"/>
              </a:ext>
            </a:extLst>
          </p:cNvPr>
          <p:cNvSpPr/>
          <p:nvPr/>
        </p:nvSpPr>
        <p:spPr bwMode="auto">
          <a:xfrm>
            <a:off x="3118640" y="4730875"/>
            <a:ext cx="1097280" cy="640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28575" cap="flat" cmpd="sng" algn="ctr">
            <a:solidFill>
              <a:srgbClr val="2733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500" tIns="35100" rIns="67500" bIns="35100" numCol="1" rtlCol="0" anchor="ctr" anchorCtr="0" compatLnSpc="1">
            <a:prstTxWarp prst="textNoShape">
              <a:avLst/>
            </a:prstTxWarp>
          </a:bodyPr>
          <a:lstStyle/>
          <a:p>
            <a:pPr defTabSz="652489">
              <a:defRPr/>
            </a:pPr>
            <a:endParaRPr lang="en-US" sz="1051" b="1" kern="0">
              <a:cs typeface="Arial"/>
              <a:sym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39AE0F0-2D3B-43E4-1D4D-0D37520DDE20}"/>
              </a:ext>
            </a:extLst>
          </p:cNvPr>
          <p:cNvSpPr/>
          <p:nvPr/>
        </p:nvSpPr>
        <p:spPr bwMode="auto">
          <a:xfrm>
            <a:off x="1925006" y="4759970"/>
            <a:ext cx="1097280" cy="58189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28575" cap="flat" cmpd="sng" algn="ctr">
            <a:solidFill>
              <a:srgbClr val="2733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500" tIns="35100" rIns="67500" bIns="35100" numCol="1" rtlCol="0" anchor="ctr" anchorCtr="0" compatLnSpc="1">
            <a:prstTxWarp prst="textNoShape">
              <a:avLst/>
            </a:prstTxWarp>
          </a:bodyPr>
          <a:lstStyle/>
          <a:p>
            <a:pPr defTabSz="652489">
              <a:defRPr/>
            </a:pPr>
            <a:endParaRPr lang="en-US" sz="1051" b="1" kern="0">
              <a:cs typeface="Arial"/>
              <a:sym typeface="Arial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6E9FB3B-E65A-4606-2314-8FD7B5803834}"/>
              </a:ext>
            </a:extLst>
          </p:cNvPr>
          <p:cNvGrpSpPr/>
          <p:nvPr/>
        </p:nvGrpSpPr>
        <p:grpSpPr>
          <a:xfrm>
            <a:off x="6699270" y="5368503"/>
            <a:ext cx="1104692" cy="461862"/>
            <a:chOff x="735946" y="3583243"/>
            <a:chExt cx="1472922" cy="731523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23BE37E-4E0F-CE3D-9BA5-7BEBB3486EE2}"/>
                </a:ext>
              </a:extLst>
            </p:cNvPr>
            <p:cNvSpPr/>
            <p:nvPr/>
          </p:nvSpPr>
          <p:spPr bwMode="auto">
            <a:xfrm>
              <a:off x="745828" y="3949006"/>
              <a:ext cx="1463040" cy="36576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 cap="flat" cmpd="sng" algn="ctr">
              <a:solidFill>
                <a:srgbClr val="27337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52489">
                <a:defRPr/>
              </a:pPr>
              <a:r>
                <a:rPr lang="en-US" sz="700" b="1" kern="0" dirty="0">
                  <a:solidFill>
                    <a:srgbClr val="273379"/>
                  </a:solidFill>
                  <a:latin typeface="Montserrat" pitchFamily="2" charset="0"/>
                  <a:cs typeface="Arial"/>
                  <a:sym typeface="Arial"/>
                </a:rPr>
                <a:t>CRO</a:t>
              </a:r>
            </a:p>
          </p:txBody>
        </p:sp>
        <p:sp>
          <p:nvSpPr>
            <p:cNvPr id="19" name="Rectangle 15">
              <a:extLst>
                <a:ext uri="{FF2B5EF4-FFF2-40B4-BE49-F238E27FC236}">
                  <a16:creationId xmlns:a16="http://schemas.microsoft.com/office/drawing/2014/main" id="{9373F339-2E53-55D9-56B9-B91FB01F564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735946" y="3583243"/>
              <a:ext cx="1472921" cy="354500"/>
            </a:xfrm>
            <a:prstGeom prst="rect">
              <a:avLst/>
            </a:prstGeom>
            <a:solidFill>
              <a:srgbClr val="003288"/>
            </a:solidFill>
            <a:ln w="28575">
              <a:solidFill>
                <a:srgbClr val="273379"/>
              </a:solidFill>
              <a:miter lim="800000"/>
              <a:headEnd/>
              <a:tailEnd/>
            </a:ln>
          </p:spPr>
          <p:txBody>
            <a:bodyPr lIns="54000" tIns="54000" rIns="54000" bIns="54000" anchor="ctr"/>
            <a:lstStyle/>
            <a:p>
              <a:pPr algn="ctr" defTabSz="685828">
                <a:lnSpc>
                  <a:spcPct val="90000"/>
                </a:lnSpc>
                <a:defRPr/>
              </a:pPr>
              <a:endParaRPr lang="en-US" sz="1200" b="1" kern="0" baseline="30000" dirty="0">
                <a:solidFill>
                  <a:srgbClr val="FFFFFF"/>
                </a:solidFill>
                <a:latin typeface="Arial"/>
                <a:cs typeface="Arial"/>
                <a:sym typeface="Arial"/>
              </a:endParaRPr>
            </a:p>
            <a:p>
              <a:pPr algn="ctr" defTabSz="685828">
                <a:lnSpc>
                  <a:spcPct val="90000"/>
                </a:lnSpc>
                <a:defRPr/>
              </a:pPr>
              <a:r>
                <a:rPr lang="en-US" sz="1200" b="1" kern="0" baseline="30000" dirty="0">
                  <a:solidFill>
                    <a:srgbClr val="FFFFFF"/>
                  </a:solidFill>
                  <a:latin typeface="Arial"/>
                  <a:cs typeface="Arial"/>
                  <a:sym typeface="Arial"/>
                </a:rPr>
                <a:t>Kevin Stone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68BAD37-2850-F5DA-8FA4-20F3CDBFBA8B}"/>
              </a:ext>
            </a:extLst>
          </p:cNvPr>
          <p:cNvGrpSpPr/>
          <p:nvPr/>
        </p:nvGrpSpPr>
        <p:grpSpPr>
          <a:xfrm>
            <a:off x="5506596" y="5346395"/>
            <a:ext cx="1097280" cy="455264"/>
            <a:chOff x="2523098" y="3182006"/>
            <a:chExt cx="1463040" cy="727955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94DFD5-A35D-E000-80D1-2AFEBEE6F55F}"/>
                </a:ext>
              </a:extLst>
            </p:cNvPr>
            <p:cNvSpPr/>
            <p:nvPr/>
          </p:nvSpPr>
          <p:spPr bwMode="auto">
            <a:xfrm>
              <a:off x="2523098" y="3544201"/>
              <a:ext cx="1463040" cy="36576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 cap="flat" cmpd="sng" algn="ctr">
              <a:solidFill>
                <a:srgbClr val="27337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52489">
                <a:defRPr/>
              </a:pPr>
              <a:r>
                <a:rPr lang="en-US" sz="700" b="1" kern="0" dirty="0">
                  <a:solidFill>
                    <a:srgbClr val="273379"/>
                  </a:solidFill>
                  <a:latin typeface="Arial"/>
                  <a:cs typeface="Arial"/>
                  <a:sym typeface="Arial"/>
                </a:rPr>
                <a:t>General Manager, Accutron</a:t>
              </a:r>
            </a:p>
          </p:txBody>
        </p:sp>
        <p:sp>
          <p:nvSpPr>
            <p:cNvPr id="25" name="Rectangle 15">
              <a:extLst>
                <a:ext uri="{FF2B5EF4-FFF2-40B4-BE49-F238E27FC236}">
                  <a16:creationId xmlns:a16="http://schemas.microsoft.com/office/drawing/2014/main" id="{ED2D1D3F-B219-88B8-4A7C-EBA27C74B308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23098" y="3182006"/>
              <a:ext cx="1463040" cy="365760"/>
            </a:xfrm>
            <a:prstGeom prst="rect">
              <a:avLst/>
            </a:prstGeom>
            <a:solidFill>
              <a:schemeClr val="accent5"/>
            </a:solidFill>
            <a:ln w="28575">
              <a:solidFill>
                <a:srgbClr val="273379"/>
              </a:solidFill>
              <a:miter lim="800000"/>
              <a:headEnd/>
              <a:tailEnd/>
            </a:ln>
          </p:spPr>
          <p:txBody>
            <a:bodyPr lIns="54000" tIns="54000" rIns="54000" bIns="54000" anchor="ctr"/>
            <a:lstStyle/>
            <a:p>
              <a:pPr algn="ctr" defTabSz="685828">
                <a:lnSpc>
                  <a:spcPct val="90000"/>
                </a:lnSpc>
                <a:defRPr/>
              </a:pPr>
              <a:r>
                <a:rPr lang="en-US" sz="750" b="1" kern="0" dirty="0">
                  <a:solidFill>
                    <a:srgbClr val="FFFFFF"/>
                  </a:solidFill>
                  <a:latin typeface="Arial"/>
                  <a:cs typeface="Arial"/>
                  <a:sym typeface="Arial"/>
                </a:rPr>
                <a:t>Samir </a:t>
              </a:r>
              <a:r>
                <a:rPr lang="en-US" sz="750" b="1" kern="0" dirty="0" err="1">
                  <a:solidFill>
                    <a:srgbClr val="FFFFFF"/>
                  </a:solidFill>
                  <a:latin typeface="Arial"/>
                  <a:cs typeface="Arial"/>
                  <a:sym typeface="Arial"/>
                </a:rPr>
                <a:t>Ghetia</a:t>
              </a:r>
              <a:endParaRPr lang="en-US" sz="750" b="1" kern="0" baseline="30000" dirty="0">
                <a:solidFill>
                  <a:srgbClr val="FFFFFF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BCD8460-679E-8E51-555B-D6AAD5CDAE6E}"/>
              </a:ext>
            </a:extLst>
          </p:cNvPr>
          <p:cNvGrpSpPr/>
          <p:nvPr/>
        </p:nvGrpSpPr>
        <p:grpSpPr>
          <a:xfrm>
            <a:off x="4312270" y="5346395"/>
            <a:ext cx="1097280" cy="455264"/>
            <a:chOff x="4088599" y="3183259"/>
            <a:chExt cx="1463040" cy="726702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7B699FD-980C-48A7-C5B6-C75F3FA5EF55}"/>
                </a:ext>
              </a:extLst>
            </p:cNvPr>
            <p:cNvSpPr/>
            <p:nvPr/>
          </p:nvSpPr>
          <p:spPr bwMode="auto">
            <a:xfrm>
              <a:off x="4088599" y="3544201"/>
              <a:ext cx="1463040" cy="36576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 cap="flat" cmpd="sng" algn="ctr">
              <a:solidFill>
                <a:srgbClr val="27337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52489">
                <a:defRPr/>
              </a:pPr>
              <a:r>
                <a:rPr lang="en-US" sz="700" b="1" kern="0" dirty="0">
                  <a:solidFill>
                    <a:srgbClr val="273379"/>
                  </a:solidFill>
                  <a:latin typeface="Montserrat" pitchFamily="2" charset="0"/>
                  <a:cs typeface="Arial"/>
                  <a:sym typeface="Arial"/>
                </a:rPr>
                <a:t>General Manager, </a:t>
              </a:r>
            </a:p>
            <a:p>
              <a:pPr algn="ctr" defTabSz="652489">
                <a:defRPr/>
              </a:pPr>
              <a:r>
                <a:rPr lang="en-US" sz="700" b="1" kern="0" dirty="0">
                  <a:solidFill>
                    <a:srgbClr val="273379"/>
                  </a:solidFill>
                  <a:latin typeface="Montserrat" pitchFamily="2" charset="0"/>
                  <a:cs typeface="Arial"/>
                  <a:sym typeface="Arial"/>
                </a:rPr>
                <a:t>CCK Automations</a:t>
              </a:r>
            </a:p>
          </p:txBody>
        </p:sp>
        <p:sp>
          <p:nvSpPr>
            <p:cNvPr id="28" name="Rectangle 15">
              <a:extLst>
                <a:ext uri="{FF2B5EF4-FFF2-40B4-BE49-F238E27FC236}">
                  <a16:creationId xmlns:a16="http://schemas.microsoft.com/office/drawing/2014/main" id="{F846D53C-FB41-A8F5-BECC-913FEEF118CA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088599" y="3183259"/>
              <a:ext cx="1463040" cy="363350"/>
            </a:xfrm>
            <a:prstGeom prst="rect">
              <a:avLst/>
            </a:prstGeom>
            <a:solidFill>
              <a:srgbClr val="003288"/>
            </a:solidFill>
            <a:ln w="28575">
              <a:solidFill>
                <a:srgbClr val="273379"/>
              </a:solidFill>
              <a:miter lim="800000"/>
              <a:headEnd/>
              <a:tailEnd/>
            </a:ln>
          </p:spPr>
          <p:txBody>
            <a:bodyPr lIns="54000" tIns="54000" rIns="54000" bIns="54000" anchor="ctr"/>
            <a:lstStyle/>
            <a:p>
              <a:pPr algn="ctr" defTabSz="685828">
                <a:lnSpc>
                  <a:spcPct val="90000"/>
                </a:lnSpc>
                <a:defRPr/>
              </a:pPr>
              <a:r>
                <a:rPr lang="en-US" sz="750" b="1" kern="0" dirty="0">
                  <a:solidFill>
                    <a:srgbClr val="FFFFFF"/>
                  </a:solidFill>
                  <a:latin typeface="Arial"/>
                  <a:cs typeface="Arial"/>
                  <a:sym typeface="Arial"/>
                </a:rPr>
                <a:t>Michelle </a:t>
              </a:r>
              <a:r>
                <a:rPr lang="en-US" sz="750" b="1" kern="0" dirty="0" err="1">
                  <a:solidFill>
                    <a:srgbClr val="FFFFFF"/>
                  </a:solidFill>
                  <a:latin typeface="Arial"/>
                  <a:cs typeface="Arial"/>
                  <a:sym typeface="Arial"/>
                </a:rPr>
                <a:t>Scrogum</a:t>
              </a:r>
              <a:endParaRPr lang="en-US" sz="750" b="1" kern="0" baseline="30000" dirty="0">
                <a:solidFill>
                  <a:srgbClr val="FFFFFF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777BCCF-566C-7128-8475-90E009B5E05A}"/>
              </a:ext>
            </a:extLst>
          </p:cNvPr>
          <p:cNvGrpSpPr/>
          <p:nvPr/>
        </p:nvGrpSpPr>
        <p:grpSpPr>
          <a:xfrm>
            <a:off x="3116576" y="5346395"/>
            <a:ext cx="1097280" cy="455264"/>
            <a:chOff x="6898257" y="3178441"/>
            <a:chExt cx="1249200" cy="726814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3E0F07F-B178-B4F6-6F28-59AF7A1A119A}"/>
                </a:ext>
              </a:extLst>
            </p:cNvPr>
            <p:cNvSpPr/>
            <p:nvPr/>
          </p:nvSpPr>
          <p:spPr bwMode="auto">
            <a:xfrm>
              <a:off x="6898257" y="3539495"/>
              <a:ext cx="1249200" cy="36576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 cap="flat" cmpd="sng" algn="ctr">
              <a:solidFill>
                <a:srgbClr val="27337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52489">
                <a:defRPr/>
              </a:pPr>
              <a:r>
                <a:rPr lang="en-US" sz="700" b="1" kern="0" dirty="0">
                  <a:solidFill>
                    <a:srgbClr val="273379"/>
                  </a:solidFill>
                  <a:latin typeface="Montserrat" pitchFamily="2" charset="0"/>
                  <a:cs typeface="Arial"/>
                  <a:sym typeface="Arial"/>
                </a:rPr>
                <a:t>Vice President, East Operations</a:t>
              </a:r>
            </a:p>
          </p:txBody>
        </p:sp>
        <p:sp>
          <p:nvSpPr>
            <p:cNvPr id="31" name="Rectangle 15">
              <a:extLst>
                <a:ext uri="{FF2B5EF4-FFF2-40B4-BE49-F238E27FC236}">
                  <a16:creationId xmlns:a16="http://schemas.microsoft.com/office/drawing/2014/main" id="{2D10A83A-B28C-48AD-A289-96587B08EA3B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898257" y="3178441"/>
              <a:ext cx="1249200" cy="365760"/>
            </a:xfrm>
            <a:prstGeom prst="rect">
              <a:avLst/>
            </a:prstGeom>
            <a:solidFill>
              <a:srgbClr val="003288"/>
            </a:solidFill>
            <a:ln w="28575">
              <a:solidFill>
                <a:srgbClr val="273379"/>
              </a:solidFill>
              <a:miter lim="800000"/>
              <a:headEnd/>
              <a:tailEnd/>
            </a:ln>
          </p:spPr>
          <p:txBody>
            <a:bodyPr lIns="54000" tIns="54000" rIns="54000" bIns="54000" anchor="ctr"/>
            <a:lstStyle/>
            <a:p>
              <a:pPr algn="ctr" defTabSz="685828">
                <a:lnSpc>
                  <a:spcPct val="90000"/>
                </a:lnSpc>
                <a:defRPr/>
              </a:pPr>
              <a:r>
                <a:rPr lang="en-US" sz="750" b="1" kern="0">
                  <a:solidFill>
                    <a:srgbClr val="FFFFFF"/>
                  </a:solidFill>
                  <a:latin typeface="Arial"/>
                  <a:cs typeface="Arial"/>
                  <a:sym typeface="Arial"/>
                </a:rPr>
                <a:t>Bill Deprofio</a:t>
              </a:r>
              <a:endParaRPr lang="en-US" sz="750" b="1" kern="0" baseline="30000">
                <a:solidFill>
                  <a:srgbClr val="FFFFFF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8A5D8A7-E9F3-F72D-424A-8EFCBBB80572}"/>
              </a:ext>
            </a:extLst>
          </p:cNvPr>
          <p:cNvGrpSpPr/>
          <p:nvPr/>
        </p:nvGrpSpPr>
        <p:grpSpPr>
          <a:xfrm>
            <a:off x="1925005" y="5346395"/>
            <a:ext cx="1097280" cy="455264"/>
            <a:chOff x="4088599" y="3183259"/>
            <a:chExt cx="1463040" cy="553374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E8692D95-2948-AB80-593F-020F9FFFF3B0}"/>
                </a:ext>
              </a:extLst>
            </p:cNvPr>
            <p:cNvSpPr/>
            <p:nvPr/>
          </p:nvSpPr>
          <p:spPr bwMode="auto">
            <a:xfrm>
              <a:off x="4088599" y="3462313"/>
              <a:ext cx="1463040" cy="27432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 cap="flat" cmpd="sng" algn="ctr">
              <a:solidFill>
                <a:srgbClr val="27337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52489">
                <a:defRPr/>
              </a:pPr>
              <a:r>
                <a:rPr lang="en-US" sz="750" b="1" kern="0" dirty="0">
                  <a:solidFill>
                    <a:srgbClr val="273379"/>
                  </a:solidFill>
                  <a:latin typeface="Montserrat" pitchFamily="2" charset="0"/>
                  <a:cs typeface="Arial"/>
                  <a:sym typeface="Arial"/>
                </a:rPr>
                <a:t>CFO</a:t>
              </a:r>
            </a:p>
          </p:txBody>
        </p:sp>
        <p:sp>
          <p:nvSpPr>
            <p:cNvPr id="34" name="Rectangle 15">
              <a:extLst>
                <a:ext uri="{FF2B5EF4-FFF2-40B4-BE49-F238E27FC236}">
                  <a16:creationId xmlns:a16="http://schemas.microsoft.com/office/drawing/2014/main" id="{5E0450C8-D1FC-7ED4-E641-257AD4F061FA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088599" y="3183259"/>
              <a:ext cx="1463040" cy="274320"/>
            </a:xfrm>
            <a:prstGeom prst="rect">
              <a:avLst/>
            </a:prstGeom>
            <a:solidFill>
              <a:srgbClr val="003288"/>
            </a:solidFill>
            <a:ln w="28575">
              <a:solidFill>
                <a:srgbClr val="273379"/>
              </a:solidFill>
              <a:miter lim="800000"/>
              <a:headEnd/>
              <a:tailEnd/>
            </a:ln>
          </p:spPr>
          <p:txBody>
            <a:bodyPr lIns="54000" tIns="54000" rIns="54000" bIns="54000" anchor="ctr"/>
            <a:lstStyle/>
            <a:p>
              <a:pPr algn="ctr" defTabSz="685828">
                <a:spcBef>
                  <a:spcPct val="90000"/>
                </a:spcBef>
                <a:buClr>
                  <a:srgbClr val="000000"/>
                </a:buClr>
                <a:defRPr/>
              </a:pPr>
              <a:r>
                <a:rPr lang="en-US" sz="750" b="1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  <a:sym typeface="Arial"/>
                </a:rPr>
                <a:t>Waseem Islam</a:t>
              </a:r>
            </a:p>
          </p:txBody>
        </p:sp>
      </p:grpSp>
      <p:graphicFrame>
        <p:nvGraphicFramePr>
          <p:cNvPr id="35" name="Table 34">
            <a:extLst>
              <a:ext uri="{FF2B5EF4-FFF2-40B4-BE49-F238E27FC236}">
                <a16:creationId xmlns:a16="http://schemas.microsoft.com/office/drawing/2014/main" id="{ECC562CB-4719-F0AF-B1AD-970DE448CED3}"/>
              </a:ext>
            </a:extLst>
          </p:cNvPr>
          <p:cNvGraphicFramePr>
            <a:graphicFrameLocks noGrp="1"/>
          </p:cNvGraphicFramePr>
          <p:nvPr/>
        </p:nvGraphicFramePr>
        <p:xfrm>
          <a:off x="1862248" y="5953539"/>
          <a:ext cx="9973693" cy="1086806"/>
        </p:xfrm>
        <a:graphic>
          <a:graphicData uri="http://schemas.openxmlformats.org/drawingml/2006/table">
            <a:tbl>
              <a:tblPr/>
              <a:tblGrid>
                <a:gridCol w="1237537">
                  <a:extLst>
                    <a:ext uri="{9D8B030D-6E8A-4147-A177-3AD203B41FA5}">
                      <a16:colId xmlns:a16="http://schemas.microsoft.com/office/drawing/2014/main" val="4035547139"/>
                    </a:ext>
                  </a:extLst>
                </a:gridCol>
                <a:gridCol w="1239660">
                  <a:extLst>
                    <a:ext uri="{9D8B030D-6E8A-4147-A177-3AD203B41FA5}">
                      <a16:colId xmlns:a16="http://schemas.microsoft.com/office/drawing/2014/main" val="2381880686"/>
                    </a:ext>
                  </a:extLst>
                </a:gridCol>
                <a:gridCol w="1239660">
                  <a:extLst>
                    <a:ext uri="{9D8B030D-6E8A-4147-A177-3AD203B41FA5}">
                      <a16:colId xmlns:a16="http://schemas.microsoft.com/office/drawing/2014/main" val="1332124834"/>
                    </a:ext>
                  </a:extLst>
                </a:gridCol>
                <a:gridCol w="1239660">
                  <a:extLst>
                    <a:ext uri="{9D8B030D-6E8A-4147-A177-3AD203B41FA5}">
                      <a16:colId xmlns:a16="http://schemas.microsoft.com/office/drawing/2014/main" val="4227966340"/>
                    </a:ext>
                  </a:extLst>
                </a:gridCol>
                <a:gridCol w="1239660">
                  <a:extLst>
                    <a:ext uri="{9D8B030D-6E8A-4147-A177-3AD203B41FA5}">
                      <a16:colId xmlns:a16="http://schemas.microsoft.com/office/drawing/2014/main" val="738077408"/>
                    </a:ext>
                  </a:extLst>
                </a:gridCol>
                <a:gridCol w="1239660">
                  <a:extLst>
                    <a:ext uri="{9D8B030D-6E8A-4147-A177-3AD203B41FA5}">
                      <a16:colId xmlns:a16="http://schemas.microsoft.com/office/drawing/2014/main" val="3231667168"/>
                    </a:ext>
                  </a:extLst>
                </a:gridCol>
                <a:gridCol w="1239660">
                  <a:extLst>
                    <a:ext uri="{9D8B030D-6E8A-4147-A177-3AD203B41FA5}">
                      <a16:colId xmlns:a16="http://schemas.microsoft.com/office/drawing/2014/main" val="3906077981"/>
                    </a:ext>
                  </a:extLst>
                </a:gridCol>
                <a:gridCol w="1298196">
                  <a:extLst>
                    <a:ext uri="{9D8B030D-6E8A-4147-A177-3AD203B41FA5}">
                      <a16:colId xmlns:a16="http://schemas.microsoft.com/office/drawing/2014/main" val="3859308955"/>
                    </a:ext>
                  </a:extLst>
                </a:gridCol>
              </a:tblGrid>
              <a:tr h="124463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Montserrat" pitchFamily="2" charset="0"/>
                        </a:rPr>
                        <a:t>EXPERIENC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Existing</a:t>
                      </a:r>
                    </a:p>
                  </a:txBody>
                  <a:tcPr marL="27432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Inactive</a:t>
                      </a:r>
                    </a:p>
                  </a:txBody>
                  <a:tcPr marL="274320" marR="0" marT="0" marB="0" anchor="ctr"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New</a:t>
                      </a:r>
                    </a:p>
                  </a:txBody>
                  <a:tcPr marL="27432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752639"/>
                  </a:ext>
                </a:extLst>
              </a:tr>
              <a:tr h="919166">
                <a:tc>
                  <a:txBody>
                    <a:bodyPr/>
                    <a:lstStyle/>
                    <a:p>
                      <a:pPr marL="11430" marR="0" lvl="0" indent="0" algn="ctr" defTabSz="86995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3399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73379"/>
                          </a:solidFill>
                          <a:effectLst/>
                          <a:uLnTx/>
                          <a:uFillTx/>
                          <a:latin typeface="Montserrat" pitchFamily="2" charset="0"/>
                          <a:ea typeface="+mn-ea"/>
                          <a:cs typeface="+mn-cs"/>
                        </a:rPr>
                        <a:t>25 years – </a:t>
                      </a:r>
                    </a:p>
                    <a:p>
                      <a:pPr marL="11430" marR="0" lvl="0" indent="0" algn="ctr" defTabSz="86995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3399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73379"/>
                          </a:solidFill>
                          <a:effectLst/>
                          <a:uLnTx/>
                          <a:uFillTx/>
                          <a:latin typeface="Montserrat" pitchFamily="2" charset="0"/>
                          <a:ea typeface="+mn-ea"/>
                          <a:cs typeface="+mn-cs"/>
                        </a:rPr>
                        <a:t> Finance &amp; Leadership</a:t>
                      </a:r>
                    </a:p>
                    <a:p>
                      <a:pPr marL="169863" marR="0" lvl="0" indent="0" algn="ctr" defTabSz="86995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339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430" marR="0" lvl="0" indent="0" algn="ctr" defTabSz="86995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3399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73379"/>
                          </a:solidFill>
                          <a:effectLst/>
                          <a:uLnTx/>
                          <a:uFillTx/>
                          <a:latin typeface="Montserrat" pitchFamily="2" charset="0"/>
                          <a:ea typeface="+mn-ea"/>
                          <a:cs typeface="+mn-cs"/>
                        </a:rPr>
                        <a:t>24 Years – </a:t>
                      </a:r>
                    </a:p>
                    <a:p>
                      <a:pPr marL="11430" marR="0" lvl="0" indent="0" algn="ctr" defTabSz="86995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3399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73379"/>
                          </a:solidFill>
                          <a:effectLst/>
                          <a:uLnTx/>
                          <a:uFillTx/>
                          <a:latin typeface="Montserrat" pitchFamily="2" charset="0"/>
                          <a:ea typeface="+mn-ea"/>
                          <a:cs typeface="+mn-cs"/>
                        </a:rPr>
                        <a:t>EMS &amp; Leadership</a:t>
                      </a:r>
                    </a:p>
                  </a:txBody>
                  <a:tcPr marL="34290" marR="34290" marT="34290" marB="3429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430" marR="0" lvl="0" indent="0" algn="ctr" defTabSz="86995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3399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73379"/>
                          </a:solidFill>
                          <a:effectLst/>
                          <a:uLnTx/>
                          <a:uFillTx/>
                          <a:latin typeface="Montserrat" pitchFamily="2" charset="0"/>
                          <a:ea typeface="+mn-ea"/>
                          <a:cs typeface="+mn-cs"/>
                        </a:rPr>
                        <a:t>25 Years -</a:t>
                      </a:r>
                    </a:p>
                    <a:p>
                      <a:pPr marL="11430" marR="0" lvl="0" indent="0" algn="ctr" defTabSz="86995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3399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73379"/>
                          </a:solidFill>
                          <a:effectLst/>
                          <a:uLnTx/>
                          <a:uFillTx/>
                          <a:latin typeface="Montserrat" pitchFamily="2" charset="0"/>
                          <a:ea typeface="+mn-ea"/>
                          <a:cs typeface="+mn-cs"/>
                        </a:rPr>
                        <a:t>EMS &amp; Leadership</a:t>
                      </a:r>
                    </a:p>
                  </a:txBody>
                  <a:tcPr marL="34290" marR="34290" marT="34290" marB="3429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430" marR="0" lvl="0" indent="0" algn="ctr" defTabSz="86995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3399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73379"/>
                          </a:solidFill>
                          <a:effectLst/>
                          <a:uLnTx/>
                          <a:uFillTx/>
                          <a:latin typeface="Montserrat" pitchFamily="2" charset="0"/>
                          <a:ea typeface="+mn-ea"/>
                          <a:cs typeface="+mn-cs"/>
                        </a:rPr>
                        <a:t>30+ Years – </a:t>
                      </a:r>
                    </a:p>
                    <a:p>
                      <a:pPr marL="11430" marR="0" lvl="0" indent="0" algn="ctr" defTabSz="86995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3399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73379"/>
                          </a:solidFill>
                          <a:effectLst/>
                          <a:uLnTx/>
                          <a:uFillTx/>
                          <a:latin typeface="Montserrat" pitchFamily="2" charset="0"/>
                          <a:ea typeface="+mn-ea"/>
                          <a:cs typeface="+mn-cs"/>
                        </a:rPr>
                        <a:t>EMS &amp; Leadership</a:t>
                      </a:r>
                    </a:p>
                  </a:txBody>
                  <a:tcPr marL="34290" marR="34290" marT="34290" marB="3429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430" marR="0" lvl="0" indent="0" algn="ctr" defTabSz="86995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3399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73379"/>
                          </a:solidFill>
                          <a:effectLst/>
                          <a:uLnTx/>
                          <a:uFillTx/>
                          <a:latin typeface="Montserrat" pitchFamily="2" charset="0"/>
                          <a:ea typeface="+mn-ea"/>
                          <a:cs typeface="+mn-cs"/>
                        </a:rPr>
                        <a:t>30+ Years </a:t>
                      </a:r>
                    </a:p>
                    <a:p>
                      <a:pPr marL="11430" marR="0" lvl="0" indent="0" algn="ctr" defTabSz="86995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3399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73379"/>
                          </a:solidFill>
                          <a:effectLst/>
                          <a:uLnTx/>
                          <a:uFillTx/>
                          <a:latin typeface="Montserrat" pitchFamily="2" charset="0"/>
                          <a:ea typeface="+mn-ea"/>
                          <a:cs typeface="+mn-cs"/>
                        </a:rPr>
                        <a:t>EMS &amp; Leadership</a:t>
                      </a:r>
                    </a:p>
                    <a:p>
                      <a:pPr marL="11430" marR="0" lvl="0" indent="0" algn="ctr" defTabSz="86995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339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430" marR="0" lvl="0" indent="0" algn="ctr" defTabSz="86995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3399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73379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+ Years</a:t>
                      </a:r>
                    </a:p>
                    <a:p>
                      <a:pPr marL="11430" marR="0" lvl="0" indent="0" algn="ctr" defTabSz="86995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3399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73379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ales &amp; Marketing</a:t>
                      </a:r>
                    </a:p>
                    <a:p>
                      <a:pPr marL="11430" marR="0" lvl="0" indent="0" algn="ctr" defTabSz="86995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339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430" marR="0" lvl="0" indent="0" algn="ctr" defTabSz="86995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3399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73379"/>
                          </a:solidFill>
                          <a:effectLst/>
                          <a:uLnTx/>
                          <a:uFillTx/>
                          <a:latin typeface="Montserrat" pitchFamily="2" charset="0"/>
                          <a:ea typeface="+mn-ea"/>
                          <a:cs typeface="+mn-cs"/>
                        </a:rPr>
                        <a:t>25 Years -</a:t>
                      </a:r>
                    </a:p>
                    <a:p>
                      <a:pPr marL="11430" marR="0" lvl="0" indent="0" algn="ctr" defTabSz="86995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3399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73379"/>
                          </a:solidFill>
                          <a:effectLst/>
                          <a:uLnTx/>
                          <a:uFillTx/>
                          <a:latin typeface="Montserrat" pitchFamily="2" charset="0"/>
                          <a:ea typeface="+mn-ea"/>
                          <a:cs typeface="+mn-cs"/>
                        </a:rPr>
                        <a:t>EMS &amp; Leadership</a:t>
                      </a:r>
                    </a:p>
                    <a:p>
                      <a:pPr marL="11430" marR="0" lvl="0" indent="0" algn="ctr" defTabSz="86995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339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273379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430" marR="0" lvl="0" indent="0" algn="ctr" defTabSz="86995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339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6497000"/>
                  </a:ext>
                </a:extLst>
              </a:tr>
            </a:tbl>
          </a:graphicData>
        </a:graphic>
      </p:graphicFrame>
      <p:sp>
        <p:nvSpPr>
          <p:cNvPr id="43" name="Oval 42">
            <a:extLst>
              <a:ext uri="{FF2B5EF4-FFF2-40B4-BE49-F238E27FC236}">
                <a16:creationId xmlns:a16="http://schemas.microsoft.com/office/drawing/2014/main" id="{92ACDFE4-8FB8-B65F-ADDE-5BFC0BCAA0B8}"/>
              </a:ext>
            </a:extLst>
          </p:cNvPr>
          <p:cNvSpPr/>
          <p:nvPr/>
        </p:nvSpPr>
        <p:spPr bwMode="auto">
          <a:xfrm>
            <a:off x="2245642" y="4764913"/>
            <a:ext cx="547447" cy="547447"/>
          </a:xfrm>
          <a:prstGeom prst="ellipse">
            <a:avLst/>
          </a:prstGeom>
          <a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500" tIns="35100" rIns="67500" bIns="35100" numCol="1" rtlCol="0" anchor="ctr" anchorCtr="0" compatLnSpc="1">
            <a:prstTxWarp prst="textNoShape">
              <a:avLst/>
            </a:prstTxWarp>
          </a:bodyPr>
          <a:lstStyle/>
          <a:p>
            <a:pPr defTabSz="652489">
              <a:defRPr/>
            </a:pPr>
            <a:endParaRPr lang="en-US" sz="1051" b="1" kern="0">
              <a:cs typeface="Arial"/>
              <a:sym typeface="Arial"/>
            </a:endParaRPr>
          </a:p>
        </p:txBody>
      </p:sp>
      <p:pic>
        <p:nvPicPr>
          <p:cNvPr id="55" name="Picture 6" descr="Microboard">
            <a:extLst>
              <a:ext uri="{FF2B5EF4-FFF2-40B4-BE49-F238E27FC236}">
                <a16:creationId xmlns:a16="http://schemas.microsoft.com/office/drawing/2014/main" id="{7815ED2D-1AF8-8989-84F9-C62EC30849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682" y="6713030"/>
            <a:ext cx="1032174" cy="198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8" name="Group 57">
            <a:extLst>
              <a:ext uri="{FF2B5EF4-FFF2-40B4-BE49-F238E27FC236}">
                <a16:creationId xmlns:a16="http://schemas.microsoft.com/office/drawing/2014/main" id="{93F579C9-3302-27E6-9F2E-D9C2BFEB48CD}"/>
              </a:ext>
            </a:extLst>
          </p:cNvPr>
          <p:cNvGrpSpPr/>
          <p:nvPr/>
        </p:nvGrpSpPr>
        <p:grpSpPr>
          <a:xfrm>
            <a:off x="4433007" y="3579810"/>
            <a:ext cx="1589401" cy="354030"/>
            <a:chOff x="4251050" y="2123470"/>
            <a:chExt cx="1677699" cy="562217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9F5FEED9-A506-97AA-6F02-773E89DA5A72}"/>
                </a:ext>
              </a:extLst>
            </p:cNvPr>
            <p:cNvSpPr/>
            <p:nvPr/>
          </p:nvSpPr>
          <p:spPr bwMode="auto">
            <a:xfrm>
              <a:off x="4251050" y="2411367"/>
              <a:ext cx="1670793" cy="27432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52489">
                <a:defRPr/>
              </a:pPr>
              <a:r>
                <a:rPr lang="en-US" sz="900" b="1" kern="0" dirty="0">
                  <a:solidFill>
                    <a:srgbClr val="273379"/>
                  </a:solidFill>
                  <a:latin typeface="Arial"/>
                  <a:cs typeface="Arial"/>
                  <a:sym typeface="Arial"/>
                </a:rPr>
                <a:t>CEO</a:t>
              </a:r>
            </a:p>
          </p:txBody>
        </p:sp>
        <p:sp>
          <p:nvSpPr>
            <p:cNvPr id="60" name="Rectangle 15">
              <a:extLst>
                <a:ext uri="{FF2B5EF4-FFF2-40B4-BE49-F238E27FC236}">
                  <a16:creationId xmlns:a16="http://schemas.microsoft.com/office/drawing/2014/main" id="{B19374A6-9C6E-F7AE-7E88-359A4835BF55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274737" y="2123470"/>
              <a:ext cx="1654012" cy="276035"/>
            </a:xfrm>
            <a:prstGeom prst="rect">
              <a:avLst/>
            </a:prstGeom>
            <a:solidFill>
              <a:schemeClr val="accent5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54000" tIns="54000" rIns="54000" bIns="54000" anchor="ctr"/>
            <a:lstStyle/>
            <a:p>
              <a:pPr algn="ctr" defTabSz="685828">
                <a:spcBef>
                  <a:spcPct val="90000"/>
                </a:spcBef>
                <a:buClr>
                  <a:srgbClr val="000000"/>
                </a:buClr>
                <a:defRPr/>
              </a:pPr>
              <a:r>
                <a:rPr lang="en-US" sz="900" b="1" kern="0" dirty="0">
                  <a:solidFill>
                    <a:srgbClr val="FFFFFF"/>
                  </a:solidFill>
                  <a:latin typeface="Arial"/>
                  <a:cs typeface="Arial"/>
                  <a:sym typeface="Arial"/>
                </a:rPr>
                <a:t>Mark A. Stephenson</a:t>
              </a:r>
              <a:endParaRPr lang="en-US" sz="9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  <a:sym typeface="Arial"/>
              </a:endParaRPr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6C354CFE-584F-54EC-3F84-C43D1CDA0A8E}"/>
              </a:ext>
            </a:extLst>
          </p:cNvPr>
          <p:cNvSpPr/>
          <p:nvPr/>
        </p:nvSpPr>
        <p:spPr bwMode="auto">
          <a:xfrm>
            <a:off x="4455774" y="2709814"/>
            <a:ext cx="1566960" cy="826839"/>
          </a:xfrm>
          <a:prstGeom prst="rect">
            <a:avLst/>
          </a:prstGeom>
          <a:solidFill>
            <a:srgbClr val="D8DCE8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500" tIns="35100" rIns="67500" bIns="35100" numCol="1" rtlCol="0" anchor="ctr" anchorCtr="0" compatLnSpc="1">
            <a:prstTxWarp prst="textNoShape">
              <a:avLst/>
            </a:prstTxWarp>
          </a:bodyPr>
          <a:lstStyle/>
          <a:p>
            <a:pPr defTabSz="652489">
              <a:defRPr/>
            </a:pPr>
            <a:endParaRPr lang="en-US" sz="1051" b="1" kern="0">
              <a:cs typeface="Arial"/>
              <a:sym typeface="Arial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80D3073F-1783-9D08-8A1F-C48EB9E52CCD}"/>
              </a:ext>
            </a:extLst>
          </p:cNvPr>
          <p:cNvSpPr/>
          <p:nvPr/>
        </p:nvSpPr>
        <p:spPr bwMode="auto">
          <a:xfrm>
            <a:off x="4871882" y="2770238"/>
            <a:ext cx="713791" cy="721496"/>
          </a:xfrm>
          <a:prstGeom prst="ellipse">
            <a:avLst/>
          </a:prstGeom>
          <a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500" tIns="35100" rIns="67500" bIns="35100" numCol="1" rtlCol="0" anchor="ctr" anchorCtr="0" compatLnSpc="1">
            <a:prstTxWarp prst="textNoShape">
              <a:avLst/>
            </a:prstTxWarp>
          </a:bodyPr>
          <a:lstStyle/>
          <a:p>
            <a:pPr defTabSz="652489">
              <a:defRPr/>
            </a:pPr>
            <a:endParaRPr lang="en-US" sz="1051" b="1" kern="0">
              <a:cs typeface="Arial"/>
              <a:sym typeface="Arial"/>
            </a:endParaRPr>
          </a:p>
        </p:txBody>
      </p: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1CD7F013-E258-DB2C-3D32-CA899B365623}"/>
              </a:ext>
            </a:extLst>
          </p:cNvPr>
          <p:cNvCxnSpPr>
            <a:cxnSpLocks/>
          </p:cNvCxnSpPr>
          <p:nvPr/>
        </p:nvCxnSpPr>
        <p:spPr bwMode="auto">
          <a:xfrm>
            <a:off x="6649971" y="3967357"/>
            <a:ext cx="0" cy="363739"/>
          </a:xfrm>
          <a:prstGeom prst="straightConnector1">
            <a:avLst/>
          </a:prstGeom>
          <a:solidFill>
            <a:srgbClr val="FF0000"/>
          </a:solidFill>
          <a:ln w="38100" cap="flat" cmpd="sng" algn="ctr">
            <a:solidFill>
              <a:srgbClr val="2733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4E7F8A8-E549-6415-BD03-805F26915205}"/>
              </a:ext>
            </a:extLst>
          </p:cNvPr>
          <p:cNvGrpSpPr/>
          <p:nvPr/>
        </p:nvGrpSpPr>
        <p:grpSpPr>
          <a:xfrm>
            <a:off x="7926299" y="5362430"/>
            <a:ext cx="1097280" cy="461860"/>
            <a:chOff x="745828" y="3583246"/>
            <a:chExt cx="1463040" cy="731520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F3A1809-094E-1442-C5D2-F9A119A2F05F}"/>
                </a:ext>
              </a:extLst>
            </p:cNvPr>
            <p:cNvSpPr/>
            <p:nvPr/>
          </p:nvSpPr>
          <p:spPr bwMode="auto">
            <a:xfrm>
              <a:off x="745828" y="3949006"/>
              <a:ext cx="1463040" cy="36576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 cap="flat" cmpd="sng" algn="ctr">
              <a:solidFill>
                <a:srgbClr val="27337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52489">
                <a:defRPr/>
              </a:pPr>
              <a:r>
                <a:rPr lang="en-US" sz="700" b="1" kern="0" dirty="0">
                  <a:solidFill>
                    <a:srgbClr val="273379"/>
                  </a:solidFill>
                  <a:latin typeface="Arial"/>
                  <a:cs typeface="Arial"/>
                  <a:sym typeface="Arial"/>
                </a:rPr>
                <a:t>Vice President, </a:t>
              </a:r>
            </a:p>
            <a:p>
              <a:pPr algn="ctr" defTabSz="652489">
                <a:defRPr/>
              </a:pPr>
              <a:r>
                <a:rPr lang="en-US" sz="700" b="1" kern="0" dirty="0">
                  <a:solidFill>
                    <a:srgbClr val="273379"/>
                  </a:solidFill>
                  <a:latin typeface="Arial"/>
                  <a:cs typeface="Arial"/>
                  <a:sym typeface="Arial"/>
                </a:rPr>
                <a:t>Sales </a:t>
              </a:r>
            </a:p>
          </p:txBody>
        </p:sp>
        <p:sp>
          <p:nvSpPr>
            <p:cNvPr id="75" name="Rectangle 15">
              <a:extLst>
                <a:ext uri="{FF2B5EF4-FFF2-40B4-BE49-F238E27FC236}">
                  <a16:creationId xmlns:a16="http://schemas.microsoft.com/office/drawing/2014/main" id="{1FD56BE0-1454-B557-EB36-F3EA8E9C770B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745828" y="3583246"/>
              <a:ext cx="1463040" cy="365760"/>
            </a:xfrm>
            <a:prstGeom prst="rect">
              <a:avLst/>
            </a:prstGeom>
            <a:solidFill>
              <a:srgbClr val="003288"/>
            </a:solidFill>
            <a:ln w="28575">
              <a:solidFill>
                <a:srgbClr val="273379"/>
              </a:solidFill>
              <a:miter lim="800000"/>
              <a:headEnd/>
              <a:tailEnd/>
            </a:ln>
          </p:spPr>
          <p:txBody>
            <a:bodyPr lIns="54000" tIns="54000" rIns="54000" bIns="54000" anchor="ctr"/>
            <a:lstStyle/>
            <a:p>
              <a:pPr algn="ctr" defTabSz="685828">
                <a:lnSpc>
                  <a:spcPct val="90000"/>
                </a:lnSpc>
                <a:defRPr/>
              </a:pPr>
              <a:r>
                <a:rPr lang="en-US" sz="750" b="1" kern="0" dirty="0">
                  <a:solidFill>
                    <a:srgbClr val="FFFFFF"/>
                  </a:solidFill>
                  <a:latin typeface="Arial"/>
                  <a:cs typeface="Arial"/>
                  <a:sym typeface="Arial"/>
                </a:rPr>
                <a:t>Jeffrey Mauck</a:t>
              </a:r>
              <a:endParaRPr lang="en-US" sz="750" b="1" kern="0" baseline="30000" dirty="0">
                <a:solidFill>
                  <a:srgbClr val="FFFFFF"/>
                </a:solidFill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78" name="Picture 2">
            <a:extLst>
              <a:ext uri="{FF2B5EF4-FFF2-40B4-BE49-F238E27FC236}">
                <a16:creationId xmlns:a16="http://schemas.microsoft.com/office/drawing/2014/main" id="{8C859799-C984-279B-7350-E9DAD57B0619}"/>
              </a:ext>
            </a:extLst>
          </p:cNvPr>
          <p:cNvPicPr>
            <a:picLocks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" b="42"/>
          <a:stretch/>
        </p:blipFill>
        <p:spPr bwMode="auto">
          <a:xfrm>
            <a:off x="8221031" y="4805318"/>
            <a:ext cx="547447" cy="54744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81">
            <a:extLst>
              <a:ext uri="{FF2B5EF4-FFF2-40B4-BE49-F238E27FC236}">
                <a16:creationId xmlns:a16="http://schemas.microsoft.com/office/drawing/2014/main" id="{6A39708A-1D13-B740-1534-45C384988B7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12" b="4112"/>
          <a:stretch/>
        </p:blipFill>
        <p:spPr>
          <a:xfrm>
            <a:off x="4569832" y="4757960"/>
            <a:ext cx="580784" cy="553463"/>
          </a:xfrm>
          <a:prstGeom prst="ellipse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039F3986-0243-DD5C-2844-A8D1E9B5EA8F}"/>
              </a:ext>
            </a:extLst>
          </p:cNvPr>
          <p:cNvSpPr/>
          <p:nvPr/>
        </p:nvSpPr>
        <p:spPr bwMode="auto">
          <a:xfrm>
            <a:off x="9126384" y="4736281"/>
            <a:ext cx="1097280" cy="654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28575" cap="flat" cmpd="sng" algn="ctr">
            <a:solidFill>
              <a:srgbClr val="2733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500" tIns="35100" rIns="67500" bIns="35100" numCol="1" rtlCol="0" anchor="ctr" anchorCtr="0" compatLnSpc="1">
            <a:prstTxWarp prst="textNoShape">
              <a:avLst/>
            </a:prstTxWarp>
          </a:bodyPr>
          <a:lstStyle/>
          <a:p>
            <a:pPr defTabSz="652489">
              <a:defRPr/>
            </a:pPr>
            <a:endParaRPr lang="en-US" sz="1051" b="1" kern="0">
              <a:cs typeface="Arial"/>
              <a:sym typeface="Arial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56F83F1F-BA7D-5E98-D1BC-F911E4E4C34B}"/>
              </a:ext>
            </a:extLst>
          </p:cNvPr>
          <p:cNvSpPr/>
          <p:nvPr/>
        </p:nvSpPr>
        <p:spPr bwMode="auto">
          <a:xfrm>
            <a:off x="9129552" y="5603846"/>
            <a:ext cx="1097280" cy="23093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8575" cap="flat" cmpd="sng" algn="ctr">
            <a:solidFill>
              <a:srgbClr val="2733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</a:bodyPr>
          <a:lstStyle/>
          <a:p>
            <a:pPr algn="ctr" defTabSz="652489">
              <a:defRPr/>
            </a:pPr>
            <a:r>
              <a:rPr lang="en-US" sz="700" b="1" kern="0" dirty="0">
                <a:solidFill>
                  <a:srgbClr val="273379"/>
                </a:solidFill>
                <a:latin typeface="Montserrat" pitchFamily="2" charset="0"/>
                <a:cs typeface="Arial"/>
                <a:sym typeface="Arial"/>
              </a:rPr>
              <a:t>Vice President,</a:t>
            </a:r>
          </a:p>
          <a:p>
            <a:pPr algn="ctr" defTabSz="652489">
              <a:defRPr/>
            </a:pPr>
            <a:r>
              <a:rPr lang="en-US" sz="700" b="1" kern="0" dirty="0">
                <a:solidFill>
                  <a:srgbClr val="273379"/>
                </a:solidFill>
                <a:latin typeface="Montserrat" pitchFamily="2" charset="0"/>
                <a:cs typeface="Arial"/>
                <a:sym typeface="Arial"/>
              </a:rPr>
              <a:t>Technology</a:t>
            </a: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D2619194-8332-3C4D-DF58-EE426FADF8B6}"/>
              </a:ext>
            </a:extLst>
          </p:cNvPr>
          <p:cNvSpPr/>
          <p:nvPr/>
        </p:nvSpPr>
        <p:spPr bwMode="auto">
          <a:xfrm>
            <a:off x="5750643" y="4749959"/>
            <a:ext cx="578222" cy="566955"/>
          </a:xfrm>
          <a:prstGeom prst="ellipse">
            <a:avLst/>
          </a:prstGeom>
          <a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500" tIns="35100" rIns="67500" bIns="35100" numCol="1" rtlCol="0" anchor="ctr" anchorCtr="0" compatLnSpc="1">
            <a:prstTxWarp prst="textNoShape">
              <a:avLst/>
            </a:prstTxWarp>
          </a:bodyPr>
          <a:lstStyle/>
          <a:p>
            <a:pPr defTabSz="652489">
              <a:defRPr/>
            </a:pPr>
            <a:endParaRPr lang="en-US" sz="1051" b="1" kern="0">
              <a:cs typeface="Arial"/>
              <a:sym typeface="Arial"/>
            </a:endParaRPr>
          </a:p>
        </p:txBody>
      </p:sp>
      <p:pic>
        <p:nvPicPr>
          <p:cNvPr id="109" name="Picture 108">
            <a:extLst>
              <a:ext uri="{FF2B5EF4-FFF2-40B4-BE49-F238E27FC236}">
                <a16:creationId xmlns:a16="http://schemas.microsoft.com/office/drawing/2014/main" id="{5DEC9B16-7D78-CE39-189A-A97AEE10CA0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3851" y="6527588"/>
            <a:ext cx="625870" cy="162726"/>
          </a:xfrm>
          <a:prstGeom prst="rect">
            <a:avLst/>
          </a:prstGeom>
        </p:spPr>
      </p:pic>
      <p:pic>
        <p:nvPicPr>
          <p:cNvPr id="111" name="Picture 110">
            <a:extLst>
              <a:ext uri="{FF2B5EF4-FFF2-40B4-BE49-F238E27FC236}">
                <a16:creationId xmlns:a16="http://schemas.microsoft.com/office/drawing/2014/main" id="{2C66DF4B-822D-104B-3E0E-77EA86D222E4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257" y="6510404"/>
            <a:ext cx="505214" cy="505214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E827BC56-7512-2CF9-D003-477E9094BB9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382" y="6502160"/>
            <a:ext cx="775595" cy="775595"/>
          </a:xfrm>
          <a:prstGeom prst="rect">
            <a:avLst/>
          </a:prstGeom>
        </p:spPr>
      </p:pic>
      <p:pic>
        <p:nvPicPr>
          <p:cNvPr id="122" name="Picture 121">
            <a:extLst>
              <a:ext uri="{FF2B5EF4-FFF2-40B4-BE49-F238E27FC236}">
                <a16:creationId xmlns:a16="http://schemas.microsoft.com/office/drawing/2014/main" id="{9014D248-F031-D253-3EB4-8F28BC1F3DC5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2651" y="6225243"/>
            <a:ext cx="686549" cy="686549"/>
          </a:xfrm>
          <a:prstGeom prst="rect">
            <a:avLst/>
          </a:prstGeom>
        </p:spPr>
      </p:pic>
      <p:pic>
        <p:nvPicPr>
          <p:cNvPr id="126" name="Picture 125">
            <a:extLst>
              <a:ext uri="{FF2B5EF4-FFF2-40B4-BE49-F238E27FC236}">
                <a16:creationId xmlns:a16="http://schemas.microsoft.com/office/drawing/2014/main" id="{F860FAEE-D1A4-1FF8-29CA-4A5EFB7EEB3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4922" y="6527588"/>
            <a:ext cx="804206" cy="207537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300E2F7B-E412-B4BC-4E49-680F6B1F4C5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5447" y="6739573"/>
            <a:ext cx="846600" cy="266679"/>
          </a:xfrm>
          <a:prstGeom prst="rect">
            <a:avLst/>
          </a:prstGeom>
        </p:spPr>
      </p:pic>
      <p:sp>
        <p:nvSpPr>
          <p:cNvPr id="162" name="Rectangle 161">
            <a:extLst>
              <a:ext uri="{FF2B5EF4-FFF2-40B4-BE49-F238E27FC236}">
                <a16:creationId xmlns:a16="http://schemas.microsoft.com/office/drawing/2014/main" id="{4F16AF25-9FAC-0196-857B-2F2B3D16B61D}"/>
              </a:ext>
            </a:extLst>
          </p:cNvPr>
          <p:cNvSpPr/>
          <p:nvPr/>
        </p:nvSpPr>
        <p:spPr bwMode="auto">
          <a:xfrm>
            <a:off x="6045086" y="2679755"/>
            <a:ext cx="2874080" cy="1268219"/>
          </a:xfrm>
          <a:prstGeom prst="rect">
            <a:avLst/>
          </a:prstGeom>
          <a:solidFill>
            <a:srgbClr val="D8DCE8"/>
          </a:solidFill>
          <a:ln w="44450" cap="flat" cmpd="sng" algn="ctr">
            <a:solidFill>
              <a:srgbClr val="273379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sx="1000" sy="1000" algn="ctr" rotWithShape="0">
              <a:srgbClr val="D8DCE8"/>
            </a:outerShdw>
          </a:effectLst>
        </p:spPr>
        <p:txBody>
          <a:bodyPr vert="horz" wrap="none" lIns="67500" tIns="35100" rIns="67500" bIns="35100" numCol="1" rtlCol="0" anchor="ctr" anchorCtr="0" compatLnSpc="1">
            <a:prstTxWarp prst="textNoShape">
              <a:avLst/>
            </a:prstTxWarp>
          </a:bodyPr>
          <a:lstStyle/>
          <a:p>
            <a:pPr marL="230190" indent="-230190" defTabSz="806216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buFont typeface="Arial" pitchFamily="34" charset="0"/>
              <a:buChar char="•"/>
              <a:defRPr/>
            </a:pPr>
            <a:r>
              <a:rPr lang="en-US" sz="900" b="1" dirty="0">
                <a:solidFill>
                  <a:srgbClr val="273379"/>
                </a:solidFill>
                <a:latin typeface="Montserrat" pitchFamily="2" charset="0"/>
                <a:cs typeface="Arial"/>
              </a:rPr>
              <a:t>Veteran EMS Sector Executive</a:t>
            </a:r>
          </a:p>
          <a:p>
            <a:pPr marL="230190" indent="-230190" defTabSz="806216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buFont typeface="Arial" pitchFamily="34" charset="0"/>
              <a:buChar char="•"/>
              <a:defRPr/>
            </a:pPr>
            <a:r>
              <a:rPr lang="en-US" sz="900" b="1" dirty="0">
                <a:solidFill>
                  <a:srgbClr val="273379"/>
                </a:solidFill>
                <a:latin typeface="Montserrat" pitchFamily="2" charset="0"/>
                <a:cs typeface="Arial"/>
              </a:rPr>
              <a:t>20+ Years of Industry Experience </a:t>
            </a:r>
          </a:p>
          <a:p>
            <a:pPr marL="230190" indent="-230190" defTabSz="806216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buFont typeface="Arial" pitchFamily="34" charset="0"/>
              <a:buChar char="•"/>
              <a:defRPr/>
            </a:pPr>
            <a:r>
              <a:rPr lang="en-US" sz="900" b="1" dirty="0">
                <a:solidFill>
                  <a:srgbClr val="273379"/>
                </a:solidFill>
                <a:latin typeface="Montserrat" pitchFamily="2" charset="0"/>
                <a:cs typeface="Arial"/>
              </a:rPr>
              <a:t>Proven Track Record - $800M Competitor</a:t>
            </a:r>
          </a:p>
          <a:p>
            <a:pPr marL="230190" indent="-230190" defTabSz="806216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buFont typeface="Arial" pitchFamily="34" charset="0"/>
              <a:buChar char="•"/>
              <a:defRPr/>
            </a:pPr>
            <a:r>
              <a:rPr lang="en-US" sz="900" b="1" dirty="0">
                <a:solidFill>
                  <a:srgbClr val="273379"/>
                </a:solidFill>
                <a:latin typeface="Montserrat" pitchFamily="2" charset="0"/>
                <a:cs typeface="Arial"/>
              </a:rPr>
              <a:t>Technical Expertise of Full Manufacturing</a:t>
            </a:r>
          </a:p>
          <a:p>
            <a:pPr marL="230190" indent="-230190" defTabSz="806216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buFont typeface="Arial" pitchFamily="34" charset="0"/>
              <a:buChar char="•"/>
              <a:defRPr/>
            </a:pPr>
            <a:r>
              <a:rPr lang="en-US" sz="900" b="1" dirty="0">
                <a:solidFill>
                  <a:srgbClr val="273379"/>
                </a:solidFill>
                <a:latin typeface="Montserrat" pitchFamily="2" charset="0"/>
                <a:cs typeface="Arial"/>
              </a:rPr>
              <a:t>&amp; Design Processes</a:t>
            </a:r>
            <a:endParaRPr lang="en-US" sz="900" b="1" dirty="0">
              <a:solidFill>
                <a:srgbClr val="273379"/>
              </a:solidFill>
              <a:latin typeface="Montserrat" pitchFamily="2" charset="0"/>
            </a:endParaRPr>
          </a:p>
        </p:txBody>
      </p:sp>
      <p:pic>
        <p:nvPicPr>
          <p:cNvPr id="163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CCFD1DB-1A5F-66AB-4CBD-99461631C2AE}"/>
              </a:ext>
            </a:extLst>
          </p:cNvPr>
          <p:cNvPicPr>
            <a:picLocks noChangeAspect="1"/>
          </p:cNvPicPr>
          <p:nvPr/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266389" y="3693525"/>
            <a:ext cx="1009100" cy="184666"/>
          </a:xfrm>
          <a:prstGeom prst="rect">
            <a:avLst/>
          </a:prstGeom>
        </p:spPr>
      </p:pic>
      <p:pic>
        <p:nvPicPr>
          <p:cNvPr id="164" name="Picture 11" descr="Logo, company name&#10;&#10;Description automatically generated">
            <a:extLst>
              <a:ext uri="{FF2B5EF4-FFF2-40B4-BE49-F238E27FC236}">
                <a16:creationId xmlns:a16="http://schemas.microsoft.com/office/drawing/2014/main" id="{0F56CB80-981A-E746-85D5-D1830F1325F0}"/>
              </a:ext>
            </a:extLst>
          </p:cNvPr>
          <p:cNvPicPr>
            <a:picLocks noChangeAspect="1"/>
          </p:cNvPicPr>
          <p:nvPr/>
        </p:nvPicPr>
        <p:blipFill rotWithShape="1">
          <a:blip r:embed="rId27">
            <a:clrChange>
              <a:clrFrom>
                <a:srgbClr val="FFFEFE"/>
              </a:clrFrom>
              <a:clrTo>
                <a:srgbClr val="FFFEFE">
                  <a:alpha val="0"/>
                </a:srgbClr>
              </a:clrTo>
            </a:clrChange>
          </a:blip>
          <a:srcRect t="34818" r="-272" b="31174"/>
          <a:stretch/>
        </p:blipFill>
        <p:spPr>
          <a:xfrm>
            <a:off x="7976892" y="3637583"/>
            <a:ext cx="783681" cy="274074"/>
          </a:xfrm>
          <a:prstGeom prst="rect">
            <a:avLst/>
          </a:prstGeom>
        </p:spPr>
      </p:pic>
      <p:sp>
        <p:nvSpPr>
          <p:cNvPr id="165" name="TextBox 164">
            <a:extLst>
              <a:ext uri="{FF2B5EF4-FFF2-40B4-BE49-F238E27FC236}">
                <a16:creationId xmlns:a16="http://schemas.microsoft.com/office/drawing/2014/main" id="{0D592FED-EA3C-2765-920E-265BB33508AE}"/>
              </a:ext>
            </a:extLst>
          </p:cNvPr>
          <p:cNvSpPr txBox="1"/>
          <p:nvPr/>
        </p:nvSpPr>
        <p:spPr>
          <a:xfrm>
            <a:off x="7138329" y="3710692"/>
            <a:ext cx="10091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28">
              <a:buClr>
                <a:srgbClr val="000000"/>
              </a:buClr>
              <a:defRPr/>
            </a:pPr>
            <a:r>
              <a:rPr lang="en-US" sz="900" b="1" kern="0" dirty="0">
                <a:solidFill>
                  <a:srgbClr val="00B0F0"/>
                </a:solidFill>
                <a:latin typeface="Arial"/>
                <a:cs typeface="Arial"/>
                <a:sym typeface="Arial"/>
              </a:rPr>
              <a:t>AVEX, Inc</a:t>
            </a:r>
          </a:p>
        </p:txBody>
      </p:sp>
      <p:cxnSp>
        <p:nvCxnSpPr>
          <p:cNvPr id="173" name="Connector: Elbow 172">
            <a:extLst>
              <a:ext uri="{FF2B5EF4-FFF2-40B4-BE49-F238E27FC236}">
                <a16:creationId xmlns:a16="http://schemas.microsoft.com/office/drawing/2014/main" id="{F6084A92-E6F5-4DF7-EA52-AB8ACBC354A2}"/>
              </a:ext>
            </a:extLst>
          </p:cNvPr>
          <p:cNvCxnSpPr>
            <a:cxnSpLocks/>
          </p:cNvCxnSpPr>
          <p:nvPr/>
        </p:nvCxnSpPr>
        <p:spPr bwMode="auto">
          <a:xfrm>
            <a:off x="2506079" y="4343575"/>
            <a:ext cx="7183872" cy="2480"/>
          </a:xfrm>
          <a:prstGeom prst="straightConnector1">
            <a:avLst/>
          </a:prstGeom>
          <a:solidFill>
            <a:srgbClr val="FF0000"/>
          </a:solidFill>
          <a:ln w="38100" cap="flat" cmpd="sng" algn="ctr">
            <a:solidFill>
              <a:srgbClr val="2733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0" name="Connector: Elbow 65">
            <a:extLst>
              <a:ext uri="{FF2B5EF4-FFF2-40B4-BE49-F238E27FC236}">
                <a16:creationId xmlns:a16="http://schemas.microsoft.com/office/drawing/2014/main" id="{9A7CE82E-0C22-9A10-3EBD-15D0B5F9D34C}"/>
              </a:ext>
            </a:extLst>
          </p:cNvPr>
          <p:cNvCxnSpPr>
            <a:cxnSpLocks/>
          </p:cNvCxnSpPr>
          <p:nvPr/>
        </p:nvCxnSpPr>
        <p:spPr bwMode="auto">
          <a:xfrm>
            <a:off x="2519365" y="4331097"/>
            <a:ext cx="0" cy="396925"/>
          </a:xfrm>
          <a:prstGeom prst="straightConnector1">
            <a:avLst/>
          </a:prstGeom>
          <a:solidFill>
            <a:srgbClr val="FF0000"/>
          </a:solidFill>
          <a:ln w="38100" cap="flat" cmpd="sng" algn="ctr">
            <a:solidFill>
              <a:srgbClr val="2733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4" name="Connector: Elbow 65">
            <a:extLst>
              <a:ext uri="{FF2B5EF4-FFF2-40B4-BE49-F238E27FC236}">
                <a16:creationId xmlns:a16="http://schemas.microsoft.com/office/drawing/2014/main" id="{2C1F4A77-44EC-E3E0-66AE-A8B9BF1B1A0E}"/>
              </a:ext>
            </a:extLst>
          </p:cNvPr>
          <p:cNvCxnSpPr>
            <a:cxnSpLocks/>
          </p:cNvCxnSpPr>
          <p:nvPr/>
        </p:nvCxnSpPr>
        <p:spPr bwMode="auto">
          <a:xfrm>
            <a:off x="3696896" y="4341947"/>
            <a:ext cx="0" cy="396925"/>
          </a:xfrm>
          <a:prstGeom prst="straightConnector1">
            <a:avLst/>
          </a:prstGeom>
          <a:solidFill>
            <a:srgbClr val="FF0000"/>
          </a:solidFill>
          <a:ln w="38100" cap="flat" cmpd="sng" algn="ctr">
            <a:solidFill>
              <a:srgbClr val="2733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6" name="Connector: Elbow 65">
            <a:extLst>
              <a:ext uri="{FF2B5EF4-FFF2-40B4-BE49-F238E27FC236}">
                <a16:creationId xmlns:a16="http://schemas.microsoft.com/office/drawing/2014/main" id="{7A348B0D-F6DE-8507-EBC9-604190BE3FFD}"/>
              </a:ext>
            </a:extLst>
          </p:cNvPr>
          <p:cNvCxnSpPr>
            <a:cxnSpLocks/>
            <a:endCxn id="13" idx="0"/>
          </p:cNvCxnSpPr>
          <p:nvPr/>
        </p:nvCxnSpPr>
        <p:spPr bwMode="auto">
          <a:xfrm>
            <a:off x="4860911" y="4329668"/>
            <a:ext cx="3" cy="401207"/>
          </a:xfrm>
          <a:prstGeom prst="straightConnector1">
            <a:avLst/>
          </a:prstGeom>
          <a:solidFill>
            <a:srgbClr val="FF0000"/>
          </a:solidFill>
          <a:ln w="38100" cap="flat" cmpd="sng" algn="ctr">
            <a:solidFill>
              <a:srgbClr val="2733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7" name="Connector: Elbow 65">
            <a:extLst>
              <a:ext uri="{FF2B5EF4-FFF2-40B4-BE49-F238E27FC236}">
                <a16:creationId xmlns:a16="http://schemas.microsoft.com/office/drawing/2014/main" id="{0F8C716E-F123-54F7-CBAB-9A4421520D65}"/>
              </a:ext>
            </a:extLst>
          </p:cNvPr>
          <p:cNvCxnSpPr>
            <a:cxnSpLocks/>
            <a:endCxn id="12" idx="0"/>
          </p:cNvCxnSpPr>
          <p:nvPr/>
        </p:nvCxnSpPr>
        <p:spPr bwMode="auto">
          <a:xfrm>
            <a:off x="6055235" y="4329076"/>
            <a:ext cx="0" cy="399207"/>
          </a:xfrm>
          <a:prstGeom prst="straightConnector1">
            <a:avLst/>
          </a:prstGeom>
          <a:solidFill>
            <a:srgbClr val="FF0000"/>
          </a:solidFill>
          <a:ln w="38100" cap="flat" cmpd="sng" algn="ctr">
            <a:solidFill>
              <a:srgbClr val="2733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4" name="Connector: Elbow 65">
            <a:extLst>
              <a:ext uri="{FF2B5EF4-FFF2-40B4-BE49-F238E27FC236}">
                <a16:creationId xmlns:a16="http://schemas.microsoft.com/office/drawing/2014/main" id="{B3E99B83-D6F2-B72C-A44A-BF00A9DD9D9B}"/>
              </a:ext>
            </a:extLst>
          </p:cNvPr>
          <p:cNvCxnSpPr>
            <a:cxnSpLocks/>
          </p:cNvCxnSpPr>
          <p:nvPr/>
        </p:nvCxnSpPr>
        <p:spPr bwMode="auto">
          <a:xfrm>
            <a:off x="7213745" y="4321323"/>
            <a:ext cx="1308" cy="396593"/>
          </a:xfrm>
          <a:prstGeom prst="straightConnector1">
            <a:avLst/>
          </a:prstGeom>
          <a:solidFill>
            <a:srgbClr val="FF0000"/>
          </a:solidFill>
          <a:ln w="38100" cap="flat" cmpd="sng" algn="ctr">
            <a:solidFill>
              <a:srgbClr val="2733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7" name="Connector: Elbow 65">
            <a:extLst>
              <a:ext uri="{FF2B5EF4-FFF2-40B4-BE49-F238E27FC236}">
                <a16:creationId xmlns:a16="http://schemas.microsoft.com/office/drawing/2014/main" id="{60D43232-634A-588F-78CE-AF6D86FA25CF}"/>
              </a:ext>
            </a:extLst>
          </p:cNvPr>
          <p:cNvCxnSpPr>
            <a:cxnSpLocks/>
          </p:cNvCxnSpPr>
          <p:nvPr/>
        </p:nvCxnSpPr>
        <p:spPr bwMode="auto">
          <a:xfrm>
            <a:off x="8474939" y="4338375"/>
            <a:ext cx="0" cy="397906"/>
          </a:xfrm>
          <a:prstGeom prst="straightConnector1">
            <a:avLst/>
          </a:prstGeom>
          <a:solidFill>
            <a:srgbClr val="FF0000"/>
          </a:solidFill>
          <a:ln w="38100" cap="flat" cmpd="sng" algn="ctr">
            <a:solidFill>
              <a:srgbClr val="2733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1" name="Connector: Elbow 65">
            <a:extLst>
              <a:ext uri="{FF2B5EF4-FFF2-40B4-BE49-F238E27FC236}">
                <a16:creationId xmlns:a16="http://schemas.microsoft.com/office/drawing/2014/main" id="{342F3576-B6DE-34D2-6124-08C2EB1602F3}"/>
              </a:ext>
            </a:extLst>
          </p:cNvPr>
          <p:cNvCxnSpPr>
            <a:cxnSpLocks/>
          </p:cNvCxnSpPr>
          <p:nvPr/>
        </p:nvCxnSpPr>
        <p:spPr bwMode="auto">
          <a:xfrm>
            <a:off x="9689951" y="4328674"/>
            <a:ext cx="4606" cy="410198"/>
          </a:xfrm>
          <a:prstGeom prst="straightConnector1">
            <a:avLst/>
          </a:prstGeom>
          <a:solidFill>
            <a:srgbClr val="FF0000"/>
          </a:solidFill>
          <a:ln w="38100" cap="flat" cmpd="sng" algn="ctr">
            <a:solidFill>
              <a:srgbClr val="2733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9" name="TextBox 258">
            <a:extLst>
              <a:ext uri="{FF2B5EF4-FFF2-40B4-BE49-F238E27FC236}">
                <a16:creationId xmlns:a16="http://schemas.microsoft.com/office/drawing/2014/main" id="{9E3F2E5E-3D08-57FE-6042-C40811212710}"/>
              </a:ext>
            </a:extLst>
          </p:cNvPr>
          <p:cNvSpPr txBox="1"/>
          <p:nvPr/>
        </p:nvSpPr>
        <p:spPr>
          <a:xfrm>
            <a:off x="6699540" y="2762077"/>
            <a:ext cx="2351444" cy="531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9"/>
            <a:r>
              <a:rPr lang="en-US" sz="1051" b="1" dirty="0">
                <a:latin typeface="Montserrat" pitchFamily="2" charset="0"/>
              </a:rPr>
              <a:t>EXPERIENCES</a:t>
            </a:r>
          </a:p>
          <a:p>
            <a:pPr defTabSz="914409"/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0CF2AE3-AFF8-4F76-5D0A-9D6DB31323FF}"/>
              </a:ext>
            </a:extLst>
          </p:cNvPr>
          <p:cNvSpPr/>
          <p:nvPr/>
        </p:nvSpPr>
        <p:spPr bwMode="auto">
          <a:xfrm>
            <a:off x="3412807" y="4759496"/>
            <a:ext cx="547447" cy="547447"/>
          </a:xfrm>
          <a:prstGeom prst="ellipse">
            <a:avLst/>
          </a:prstGeom>
          <a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500" tIns="35100" rIns="67500" bIns="35100" numCol="1" rtlCol="0" anchor="ctr" anchorCtr="0" compatLnSpc="1">
            <a:prstTxWarp prst="textNoShape">
              <a:avLst/>
            </a:prstTxWarp>
          </a:bodyPr>
          <a:lstStyle/>
          <a:p>
            <a:pPr defTabSz="652489">
              <a:defRPr/>
            </a:pPr>
            <a:endParaRPr lang="en-US" sz="1051" b="1" kern="0">
              <a:cs typeface="Arial"/>
              <a:sym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970398F-2CF4-AFEE-38B4-9D22F1FADC3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126384" y="5352231"/>
            <a:ext cx="1097280" cy="230930"/>
          </a:xfrm>
          <a:prstGeom prst="rect">
            <a:avLst/>
          </a:prstGeom>
          <a:solidFill>
            <a:srgbClr val="003288"/>
          </a:solidFill>
          <a:ln w="28575">
            <a:solidFill>
              <a:srgbClr val="273379"/>
            </a:solidFill>
            <a:miter lim="800000"/>
            <a:headEnd/>
            <a:tailEnd/>
          </a:ln>
        </p:spPr>
        <p:txBody>
          <a:bodyPr lIns="54000" tIns="54000" rIns="54000" bIns="54000" anchor="ctr"/>
          <a:lstStyle/>
          <a:p>
            <a:pPr algn="ctr" defTabSz="685828">
              <a:lnSpc>
                <a:spcPct val="90000"/>
              </a:lnSpc>
              <a:defRPr/>
            </a:pPr>
            <a:r>
              <a:rPr lang="en-US" sz="750" b="1" kern="0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JJ Richardson</a:t>
            </a:r>
            <a:endParaRPr lang="en-US" sz="750" b="1" kern="0" baseline="30000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24" name="Picture 2">
            <a:extLst>
              <a:ext uri="{FF2B5EF4-FFF2-40B4-BE49-F238E27FC236}">
                <a16:creationId xmlns:a16="http://schemas.microsoft.com/office/drawing/2014/main" id="{1C60CDF5-08D8-01F2-E0CF-75A7202C268A}"/>
              </a:ext>
            </a:extLst>
          </p:cNvPr>
          <p:cNvPicPr>
            <a:picLocks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" b="42"/>
          <a:stretch/>
        </p:blipFill>
        <p:spPr bwMode="auto">
          <a:xfrm>
            <a:off x="9355274" y="4791043"/>
            <a:ext cx="547447" cy="54744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D344571-935C-D48E-2DAE-2E62CB49F9FC}"/>
              </a:ext>
            </a:extLst>
          </p:cNvPr>
          <p:cNvPicPr>
            <a:picLocks noChangeAspect="1"/>
          </p:cNvPicPr>
          <p:nvPr/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925005" y="6510404"/>
            <a:ext cx="1009100" cy="184666"/>
          </a:xfrm>
          <a:prstGeom prst="rect">
            <a:avLst/>
          </a:prstGeom>
        </p:spPr>
      </p:pic>
      <p:pic>
        <p:nvPicPr>
          <p:cNvPr id="228" name="Picture 227" descr="A blue oval with black text&#10;&#10;AI-generated content may be incorrect.">
            <a:extLst>
              <a:ext uri="{FF2B5EF4-FFF2-40B4-BE49-F238E27FC236}">
                <a16:creationId xmlns:a16="http://schemas.microsoft.com/office/drawing/2014/main" id="{80A4F835-8D7D-5364-6F27-986BDC47179C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1967" y="6520705"/>
            <a:ext cx="652276" cy="664824"/>
          </a:xfrm>
          <a:prstGeom prst="rect">
            <a:avLst/>
          </a:prstGeom>
        </p:spPr>
      </p:pic>
      <p:pic>
        <p:nvPicPr>
          <p:cNvPr id="231" name="Picture 230" descr="A blue and orange logo&#10;&#10;AI-generated content may be incorrect.">
            <a:extLst>
              <a:ext uri="{FF2B5EF4-FFF2-40B4-BE49-F238E27FC236}">
                <a16:creationId xmlns:a16="http://schemas.microsoft.com/office/drawing/2014/main" id="{36149E37-CCA4-FC3D-6F35-BE9D89B5B592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3322" y="6523859"/>
            <a:ext cx="577731" cy="331606"/>
          </a:xfrm>
          <a:prstGeom prst="rect">
            <a:avLst/>
          </a:prstGeom>
        </p:spPr>
      </p:pic>
      <p:pic>
        <p:nvPicPr>
          <p:cNvPr id="11" name="Picture 10" descr="A person in a suit smiling&#10;&#10;AI-generated content may be incorrect.">
            <a:extLst>
              <a:ext uri="{FF2B5EF4-FFF2-40B4-BE49-F238E27FC236}">
                <a16:creationId xmlns:a16="http://schemas.microsoft.com/office/drawing/2014/main" id="{F1AEDCD2-3A05-DE14-F546-68F7569E4526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7089" y="4785306"/>
            <a:ext cx="509333" cy="54203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18F161A-0830-9DC0-CD40-82961B031F78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2393" y="6441967"/>
            <a:ext cx="486725" cy="293157"/>
          </a:xfrm>
          <a:prstGeom prst="rect">
            <a:avLst/>
          </a:prstGeom>
        </p:spPr>
      </p:pic>
      <p:pic>
        <p:nvPicPr>
          <p:cNvPr id="1026" name="Picture 2" descr="Primary Logo">
            <a:extLst>
              <a:ext uri="{FF2B5EF4-FFF2-40B4-BE49-F238E27FC236}">
                <a16:creationId xmlns:a16="http://schemas.microsoft.com/office/drawing/2014/main" id="{4A41A29B-991E-4BF2-16E9-F98ECCE11D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25" y="6451537"/>
            <a:ext cx="572972" cy="245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AMETEK Rotron | AMETEK Hughes-Treitler Parts and Supplies">
            <a:extLst>
              <a:ext uri="{FF2B5EF4-FFF2-40B4-BE49-F238E27FC236}">
                <a16:creationId xmlns:a16="http://schemas.microsoft.com/office/drawing/2014/main" id="{FD69516E-DE6F-1516-31BD-C2A71D055D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1178" y="6727778"/>
            <a:ext cx="572972" cy="275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0319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56A887-C21F-9FA8-4FA3-5CD5FDDE2D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1DC5E72-A8B7-CB57-7266-ABAD977258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779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876C20-4178-22BA-0964-DF09039858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779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413B88-7EF1-A055-7F4A-C84B201311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rgbClr val="2733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pitchFamily="2" charset="0"/>
              </a:rPr>
              <a:t>Enterprise Summary</a:t>
            </a:r>
            <a:endParaRPr lang="en-US" b="0" i="1">
              <a:solidFill>
                <a:srgbClr val="27337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tserrat" pitchFamily="2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5059E0-7129-2654-7661-A4BA1D7AEF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7000A2-FC6C-5351-911D-0D18CA6DF9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9293" y="1176077"/>
            <a:ext cx="12596283" cy="718848"/>
          </a:xfrm>
        </p:spPr>
        <p:txBody>
          <a:bodyPr/>
          <a:lstStyle/>
          <a:p>
            <a:pPr algn="ctr"/>
            <a:r>
              <a:rPr lang="en-US">
                <a:solidFill>
                  <a:srgbClr val="273379"/>
                </a:solidFill>
              </a:rPr>
              <a:t>Equipped to Serve a Broad Range of Production Mix &amp; High-Tech Applications</a:t>
            </a:r>
          </a:p>
          <a:p>
            <a:pPr algn="ctr"/>
            <a:r>
              <a:rPr lang="en-US">
                <a:solidFill>
                  <a:srgbClr val="273379"/>
                </a:solidFill>
              </a:rPr>
              <a:t>Staffed with </a:t>
            </a:r>
            <a:r>
              <a:rPr lang="en-US">
                <a:solidFill>
                  <a:srgbClr val="2733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ades of Experience in Electronic Manufacturing Services</a:t>
            </a:r>
            <a:endParaRPr lang="en-US">
              <a:solidFill>
                <a:srgbClr val="273379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7BD55E1-9D28-B3E7-8BB6-067022C1675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352145" y="2044473"/>
            <a:ext cx="7990678" cy="16103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640080" tIns="72000" rIns="72000" bIns="72000" anchor="ctr"/>
          <a:lstStyle/>
          <a:p>
            <a:pPr marL="235732" indent="-235732">
              <a:buClr>
                <a:srgbClr val="003288"/>
              </a:buClr>
              <a:buFont typeface="Arial" panose="020B0604020202020204" pitchFamily="34" charset="0"/>
              <a:buChar char="•"/>
              <a:defRPr/>
            </a:pPr>
            <a:r>
              <a:rPr lang="en-US" sz="1500" b="1" dirty="0">
                <a:solidFill>
                  <a:srgbClr val="273379"/>
                </a:solidFill>
                <a:latin typeface="Montserrat" pitchFamily="2" charset="0"/>
              </a:rPr>
              <a:t>12 Advanced Production Lines Across Three State-of-the-Art Facilities</a:t>
            </a:r>
          </a:p>
          <a:p>
            <a:pPr marL="235732" indent="-235732">
              <a:buClr>
                <a:srgbClr val="003288"/>
              </a:buClr>
              <a:buFont typeface="Arial" panose="020B0604020202020204" pitchFamily="34" charset="0"/>
              <a:buChar char="•"/>
              <a:defRPr/>
            </a:pPr>
            <a:r>
              <a:rPr lang="en-US" sz="1500" b="1" dirty="0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</a:rPr>
              <a:t>Full Compliment of Secondary Process Automation </a:t>
            </a:r>
          </a:p>
          <a:p>
            <a:pPr marL="457178" lvl="1" indent="-182872">
              <a:buClr>
                <a:srgbClr val="003288"/>
              </a:buClr>
              <a:buFont typeface="Arial" panose="020B0604020202020204" pitchFamily="34" charset="0"/>
              <a:buChar char="–"/>
              <a:defRPr/>
            </a:pPr>
            <a:r>
              <a:rPr lang="en-US" sz="1500" dirty="0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</a:rPr>
              <a:t>Selective Solder, Wave Solder, 3D AOI, Conformal Coating, Potting, Heat Staking &amp; Testing</a:t>
            </a:r>
          </a:p>
          <a:p>
            <a:pPr marL="235732" indent="-235732">
              <a:buClr>
                <a:srgbClr val="003288"/>
              </a:buClr>
              <a:buFont typeface="Arial" panose="020B0604020202020204" pitchFamily="34" charset="0"/>
              <a:buChar char="•"/>
              <a:defRPr/>
            </a:pPr>
            <a:r>
              <a:rPr lang="en-US" sz="1500" b="1" dirty="0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</a:rPr>
              <a:t>Complete Box Build Capabilities</a:t>
            </a:r>
          </a:p>
          <a:p>
            <a:pPr marL="235732" indent="-235732">
              <a:buClr>
                <a:srgbClr val="003288"/>
              </a:buClr>
              <a:buFont typeface="Arial" panose="020B0604020202020204" pitchFamily="34" charset="0"/>
              <a:buChar char="•"/>
              <a:defRPr/>
            </a:pPr>
            <a:r>
              <a:rPr lang="en-US" sz="1500" b="1" dirty="0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</a:rPr>
              <a:t>DFM, DFT, Z2Data BOM Health Analysis</a:t>
            </a:r>
            <a:endParaRPr lang="en-US" sz="1500" dirty="0">
              <a:solidFill>
                <a:srgbClr val="273379"/>
              </a:solidFill>
              <a:latin typeface="Montserrat" pitchFamily="2" charset="0"/>
              <a:ea typeface="Source Sans Pro Light" panose="020B0403030403020204" pitchFamily="34" charset="0"/>
            </a:endParaRPr>
          </a:p>
        </p:txBody>
      </p:sp>
      <p:sp>
        <p:nvSpPr>
          <p:cNvPr id="10" name="AutoShape 5">
            <a:extLst>
              <a:ext uri="{FF2B5EF4-FFF2-40B4-BE49-F238E27FC236}">
                <a16:creationId xmlns:a16="http://schemas.microsoft.com/office/drawing/2014/main" id="{B5364E42-C29F-A350-BA5B-62CC8B25FE24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148257" y="2049941"/>
            <a:ext cx="2647788" cy="1614709"/>
          </a:xfrm>
          <a:prstGeom prst="homePlate">
            <a:avLst>
              <a:gd name="adj" fmla="val 28910"/>
            </a:avLst>
          </a:prstGeom>
          <a:solidFill>
            <a:srgbClr val="003288"/>
          </a:solidFill>
          <a:ln w="63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274320" bIns="72000" anchor="ctr"/>
          <a:lstStyle/>
          <a:p>
            <a:pPr marL="112707">
              <a:lnSpc>
                <a:spcPct val="90000"/>
              </a:lnSpc>
            </a:pPr>
            <a:endParaRPr lang="en-US" sz="1400" b="1">
              <a:solidFill>
                <a:schemeClr val="bg1"/>
              </a:solidFill>
              <a:latin typeface="Arial"/>
              <a:cs typeface="Arial" pitchFamily="34" charset="0"/>
            </a:endParaRPr>
          </a:p>
          <a:p>
            <a:pPr marL="112707">
              <a:lnSpc>
                <a:spcPct val="90000"/>
              </a:lnSpc>
            </a:pPr>
            <a:endParaRPr lang="en-US" sz="1400" b="1">
              <a:solidFill>
                <a:schemeClr val="bg1"/>
              </a:solidFill>
              <a:latin typeface="Arial"/>
              <a:cs typeface="Arial" pitchFamily="34" charset="0"/>
            </a:endParaRPr>
          </a:p>
          <a:p>
            <a:pPr marL="112707">
              <a:lnSpc>
                <a:spcPct val="90000"/>
              </a:lnSpc>
            </a:pPr>
            <a:endParaRPr lang="en-US" sz="1400" b="1">
              <a:solidFill>
                <a:schemeClr val="bg1"/>
              </a:solidFill>
              <a:latin typeface="Arial"/>
              <a:cs typeface="Arial" pitchFamily="34" charset="0"/>
            </a:endParaRPr>
          </a:p>
          <a:p>
            <a:pPr marL="112707" algn="ctr">
              <a:lnSpc>
                <a:spcPct val="90000"/>
              </a:lnSpc>
            </a:pPr>
            <a:endParaRPr lang="en-US" sz="1400" b="1">
              <a:solidFill>
                <a:schemeClr val="bg1"/>
              </a:solidFill>
              <a:latin typeface="Arial"/>
              <a:cs typeface="Arial" pitchFamily="34" charset="0"/>
            </a:endParaRPr>
          </a:p>
          <a:p>
            <a:pPr marL="112707" algn="ctr">
              <a:lnSpc>
                <a:spcPct val="90000"/>
              </a:lnSpc>
            </a:pPr>
            <a:endParaRPr lang="en-US" sz="1400" b="1">
              <a:solidFill>
                <a:schemeClr val="bg1"/>
              </a:solidFill>
              <a:latin typeface="Arial"/>
              <a:cs typeface="Arial" pitchFamily="34" charset="0"/>
            </a:endParaRPr>
          </a:p>
          <a:p>
            <a:pPr marL="112707" algn="ctr">
              <a:lnSpc>
                <a:spcPct val="90000"/>
              </a:lnSpc>
            </a:pPr>
            <a:r>
              <a:rPr lang="en-US" sz="1400" b="1">
                <a:solidFill>
                  <a:schemeClr val="bg1"/>
                </a:solidFill>
                <a:latin typeface="Arial"/>
                <a:cs typeface="Arial" pitchFamily="34" charset="0"/>
              </a:rPr>
              <a:t>High-Mid-Low Volume PCB Assembly &amp; Box Buil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E222F0D-7128-F2BB-B958-6BC9720CDEF0}"/>
              </a:ext>
            </a:extLst>
          </p:cNvPr>
          <p:cNvGrpSpPr/>
          <p:nvPr/>
        </p:nvGrpSpPr>
        <p:grpSpPr>
          <a:xfrm>
            <a:off x="2817169" y="2232330"/>
            <a:ext cx="673796" cy="675639"/>
            <a:chOff x="1612574" y="1992769"/>
            <a:chExt cx="698920" cy="69892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848EFDF5-8F28-0F5F-89C8-F81FA4DCFD3B}"/>
                </a:ext>
              </a:extLst>
            </p:cNvPr>
            <p:cNvSpPr/>
            <p:nvPr/>
          </p:nvSpPr>
          <p:spPr>
            <a:xfrm flipH="1">
              <a:off x="1612574" y="1992769"/>
              <a:ext cx="698920" cy="6989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444500" dist="190500" dir="5400000" sx="90000" sy="9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  <p:sp>
          <p:nvSpPr>
            <p:cNvPr id="13" name="Freeform 19">
              <a:extLst>
                <a:ext uri="{FF2B5EF4-FFF2-40B4-BE49-F238E27FC236}">
                  <a16:creationId xmlns:a16="http://schemas.microsoft.com/office/drawing/2014/main" id="{8320F4BA-B7DA-A6DB-926C-96CA07B00D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05228" y="2227761"/>
              <a:ext cx="313612" cy="228936"/>
            </a:xfrm>
            <a:custGeom>
              <a:avLst/>
              <a:gdLst>
                <a:gd name="T0" fmla="*/ 200 w 220"/>
                <a:gd name="T1" fmla="*/ 0 h 160"/>
                <a:gd name="T2" fmla="*/ 180 w 220"/>
                <a:gd name="T3" fmla="*/ 20 h 160"/>
                <a:gd name="T4" fmla="*/ 188 w 220"/>
                <a:gd name="T5" fmla="*/ 36 h 160"/>
                <a:gd name="T6" fmla="*/ 184 w 220"/>
                <a:gd name="T7" fmla="*/ 34 h 160"/>
                <a:gd name="T8" fmla="*/ 136 w 220"/>
                <a:gd name="T9" fmla="*/ 124 h 160"/>
                <a:gd name="T10" fmla="*/ 124 w 220"/>
                <a:gd name="T11" fmla="*/ 120 h 160"/>
                <a:gd name="T12" fmla="*/ 113 w 220"/>
                <a:gd name="T13" fmla="*/ 123 h 160"/>
                <a:gd name="T14" fmla="*/ 76 w 220"/>
                <a:gd name="T15" fmla="*/ 71 h 160"/>
                <a:gd name="T16" fmla="*/ 80 w 220"/>
                <a:gd name="T17" fmla="*/ 60 h 160"/>
                <a:gd name="T18" fmla="*/ 60 w 220"/>
                <a:gd name="T19" fmla="*/ 40 h 160"/>
                <a:gd name="T20" fmla="*/ 40 w 220"/>
                <a:gd name="T21" fmla="*/ 60 h 160"/>
                <a:gd name="T22" fmla="*/ 43 w 220"/>
                <a:gd name="T23" fmla="*/ 71 h 160"/>
                <a:gd name="T24" fmla="*/ 28 w 220"/>
                <a:gd name="T25" fmla="*/ 90 h 160"/>
                <a:gd name="T26" fmla="*/ 20 w 220"/>
                <a:gd name="T27" fmla="*/ 88 h 160"/>
                <a:gd name="T28" fmla="*/ 0 w 220"/>
                <a:gd name="T29" fmla="*/ 108 h 160"/>
                <a:gd name="T30" fmla="*/ 20 w 220"/>
                <a:gd name="T31" fmla="*/ 128 h 160"/>
                <a:gd name="T32" fmla="*/ 40 w 220"/>
                <a:gd name="T33" fmla="*/ 108 h 160"/>
                <a:gd name="T34" fmla="*/ 35 w 220"/>
                <a:gd name="T35" fmla="*/ 94 h 160"/>
                <a:gd name="T36" fmla="*/ 49 w 220"/>
                <a:gd name="T37" fmla="*/ 77 h 160"/>
                <a:gd name="T38" fmla="*/ 60 w 220"/>
                <a:gd name="T39" fmla="*/ 80 h 160"/>
                <a:gd name="T40" fmla="*/ 71 w 220"/>
                <a:gd name="T41" fmla="*/ 77 h 160"/>
                <a:gd name="T42" fmla="*/ 108 w 220"/>
                <a:gd name="T43" fmla="*/ 129 h 160"/>
                <a:gd name="T44" fmla="*/ 104 w 220"/>
                <a:gd name="T45" fmla="*/ 140 h 160"/>
                <a:gd name="T46" fmla="*/ 124 w 220"/>
                <a:gd name="T47" fmla="*/ 160 h 160"/>
                <a:gd name="T48" fmla="*/ 144 w 220"/>
                <a:gd name="T49" fmla="*/ 140 h 160"/>
                <a:gd name="T50" fmla="*/ 141 w 220"/>
                <a:gd name="T51" fmla="*/ 130 h 160"/>
                <a:gd name="T52" fmla="*/ 191 w 220"/>
                <a:gd name="T53" fmla="*/ 38 h 160"/>
                <a:gd name="T54" fmla="*/ 200 w 220"/>
                <a:gd name="T55" fmla="*/ 40 h 160"/>
                <a:gd name="T56" fmla="*/ 220 w 220"/>
                <a:gd name="T57" fmla="*/ 20 h 160"/>
                <a:gd name="T58" fmla="*/ 200 w 220"/>
                <a:gd name="T59" fmla="*/ 0 h 160"/>
                <a:gd name="T60" fmla="*/ 20 w 220"/>
                <a:gd name="T61" fmla="*/ 120 h 160"/>
                <a:gd name="T62" fmla="*/ 8 w 220"/>
                <a:gd name="T63" fmla="*/ 108 h 160"/>
                <a:gd name="T64" fmla="*/ 20 w 220"/>
                <a:gd name="T65" fmla="*/ 96 h 160"/>
                <a:gd name="T66" fmla="*/ 32 w 220"/>
                <a:gd name="T67" fmla="*/ 108 h 160"/>
                <a:gd name="T68" fmla="*/ 20 w 220"/>
                <a:gd name="T69" fmla="*/ 120 h 160"/>
                <a:gd name="T70" fmla="*/ 60 w 220"/>
                <a:gd name="T71" fmla="*/ 72 h 160"/>
                <a:gd name="T72" fmla="*/ 48 w 220"/>
                <a:gd name="T73" fmla="*/ 60 h 160"/>
                <a:gd name="T74" fmla="*/ 60 w 220"/>
                <a:gd name="T75" fmla="*/ 48 h 160"/>
                <a:gd name="T76" fmla="*/ 72 w 220"/>
                <a:gd name="T77" fmla="*/ 60 h 160"/>
                <a:gd name="T78" fmla="*/ 60 w 220"/>
                <a:gd name="T79" fmla="*/ 72 h 160"/>
                <a:gd name="T80" fmla="*/ 124 w 220"/>
                <a:gd name="T81" fmla="*/ 152 h 160"/>
                <a:gd name="T82" fmla="*/ 112 w 220"/>
                <a:gd name="T83" fmla="*/ 140 h 160"/>
                <a:gd name="T84" fmla="*/ 124 w 220"/>
                <a:gd name="T85" fmla="*/ 128 h 160"/>
                <a:gd name="T86" fmla="*/ 136 w 220"/>
                <a:gd name="T87" fmla="*/ 140 h 160"/>
                <a:gd name="T88" fmla="*/ 124 w 220"/>
                <a:gd name="T89" fmla="*/ 152 h 160"/>
                <a:gd name="T90" fmla="*/ 200 w 220"/>
                <a:gd name="T91" fmla="*/ 32 h 160"/>
                <a:gd name="T92" fmla="*/ 188 w 220"/>
                <a:gd name="T93" fmla="*/ 20 h 160"/>
                <a:gd name="T94" fmla="*/ 200 w 220"/>
                <a:gd name="T95" fmla="*/ 8 h 160"/>
                <a:gd name="T96" fmla="*/ 212 w 220"/>
                <a:gd name="T97" fmla="*/ 20 h 160"/>
                <a:gd name="T98" fmla="*/ 200 w 220"/>
                <a:gd name="T99" fmla="*/ 32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0" h="160">
                  <a:moveTo>
                    <a:pt x="200" y="0"/>
                  </a:moveTo>
                  <a:cubicBezTo>
                    <a:pt x="189" y="0"/>
                    <a:pt x="180" y="9"/>
                    <a:pt x="180" y="20"/>
                  </a:cubicBezTo>
                  <a:cubicBezTo>
                    <a:pt x="180" y="27"/>
                    <a:pt x="183" y="33"/>
                    <a:pt x="188" y="36"/>
                  </a:cubicBezTo>
                  <a:cubicBezTo>
                    <a:pt x="184" y="34"/>
                    <a:pt x="184" y="34"/>
                    <a:pt x="184" y="34"/>
                  </a:cubicBezTo>
                  <a:cubicBezTo>
                    <a:pt x="136" y="124"/>
                    <a:pt x="136" y="124"/>
                    <a:pt x="136" y="124"/>
                  </a:cubicBezTo>
                  <a:cubicBezTo>
                    <a:pt x="132" y="122"/>
                    <a:pt x="128" y="120"/>
                    <a:pt x="124" y="120"/>
                  </a:cubicBezTo>
                  <a:cubicBezTo>
                    <a:pt x="120" y="120"/>
                    <a:pt x="116" y="121"/>
                    <a:pt x="113" y="123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9" y="68"/>
                    <a:pt x="80" y="64"/>
                    <a:pt x="80" y="60"/>
                  </a:cubicBezTo>
                  <a:cubicBezTo>
                    <a:pt x="80" y="49"/>
                    <a:pt x="71" y="40"/>
                    <a:pt x="60" y="40"/>
                  </a:cubicBezTo>
                  <a:cubicBezTo>
                    <a:pt x="49" y="40"/>
                    <a:pt x="40" y="49"/>
                    <a:pt x="40" y="60"/>
                  </a:cubicBezTo>
                  <a:cubicBezTo>
                    <a:pt x="40" y="64"/>
                    <a:pt x="41" y="68"/>
                    <a:pt x="43" y="71"/>
                  </a:cubicBezTo>
                  <a:cubicBezTo>
                    <a:pt x="28" y="90"/>
                    <a:pt x="28" y="90"/>
                    <a:pt x="28" y="90"/>
                  </a:cubicBezTo>
                  <a:cubicBezTo>
                    <a:pt x="26" y="89"/>
                    <a:pt x="23" y="88"/>
                    <a:pt x="20" y="88"/>
                  </a:cubicBezTo>
                  <a:cubicBezTo>
                    <a:pt x="9" y="88"/>
                    <a:pt x="0" y="97"/>
                    <a:pt x="0" y="108"/>
                  </a:cubicBezTo>
                  <a:cubicBezTo>
                    <a:pt x="0" y="119"/>
                    <a:pt x="9" y="128"/>
                    <a:pt x="20" y="128"/>
                  </a:cubicBezTo>
                  <a:cubicBezTo>
                    <a:pt x="31" y="128"/>
                    <a:pt x="40" y="119"/>
                    <a:pt x="40" y="108"/>
                  </a:cubicBezTo>
                  <a:cubicBezTo>
                    <a:pt x="40" y="103"/>
                    <a:pt x="38" y="98"/>
                    <a:pt x="35" y="94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52" y="79"/>
                    <a:pt x="56" y="80"/>
                    <a:pt x="60" y="80"/>
                  </a:cubicBezTo>
                  <a:cubicBezTo>
                    <a:pt x="64" y="80"/>
                    <a:pt x="68" y="79"/>
                    <a:pt x="71" y="77"/>
                  </a:cubicBezTo>
                  <a:cubicBezTo>
                    <a:pt x="108" y="129"/>
                    <a:pt x="108" y="129"/>
                    <a:pt x="108" y="129"/>
                  </a:cubicBezTo>
                  <a:cubicBezTo>
                    <a:pt x="105" y="132"/>
                    <a:pt x="104" y="136"/>
                    <a:pt x="104" y="140"/>
                  </a:cubicBezTo>
                  <a:cubicBezTo>
                    <a:pt x="104" y="151"/>
                    <a:pt x="113" y="160"/>
                    <a:pt x="124" y="160"/>
                  </a:cubicBezTo>
                  <a:cubicBezTo>
                    <a:pt x="135" y="160"/>
                    <a:pt x="144" y="151"/>
                    <a:pt x="144" y="140"/>
                  </a:cubicBezTo>
                  <a:cubicBezTo>
                    <a:pt x="144" y="136"/>
                    <a:pt x="143" y="133"/>
                    <a:pt x="141" y="130"/>
                  </a:cubicBezTo>
                  <a:cubicBezTo>
                    <a:pt x="191" y="38"/>
                    <a:pt x="191" y="38"/>
                    <a:pt x="191" y="38"/>
                  </a:cubicBezTo>
                  <a:cubicBezTo>
                    <a:pt x="194" y="39"/>
                    <a:pt x="197" y="40"/>
                    <a:pt x="200" y="40"/>
                  </a:cubicBezTo>
                  <a:cubicBezTo>
                    <a:pt x="211" y="40"/>
                    <a:pt x="220" y="31"/>
                    <a:pt x="220" y="20"/>
                  </a:cubicBezTo>
                  <a:cubicBezTo>
                    <a:pt x="220" y="9"/>
                    <a:pt x="211" y="0"/>
                    <a:pt x="200" y="0"/>
                  </a:cubicBezTo>
                  <a:close/>
                  <a:moveTo>
                    <a:pt x="20" y="120"/>
                  </a:moveTo>
                  <a:cubicBezTo>
                    <a:pt x="13" y="120"/>
                    <a:pt x="8" y="115"/>
                    <a:pt x="8" y="108"/>
                  </a:cubicBezTo>
                  <a:cubicBezTo>
                    <a:pt x="8" y="101"/>
                    <a:pt x="13" y="96"/>
                    <a:pt x="20" y="96"/>
                  </a:cubicBezTo>
                  <a:cubicBezTo>
                    <a:pt x="27" y="96"/>
                    <a:pt x="32" y="101"/>
                    <a:pt x="32" y="108"/>
                  </a:cubicBezTo>
                  <a:cubicBezTo>
                    <a:pt x="32" y="115"/>
                    <a:pt x="27" y="120"/>
                    <a:pt x="20" y="120"/>
                  </a:cubicBezTo>
                  <a:close/>
                  <a:moveTo>
                    <a:pt x="60" y="72"/>
                  </a:moveTo>
                  <a:cubicBezTo>
                    <a:pt x="53" y="72"/>
                    <a:pt x="48" y="67"/>
                    <a:pt x="48" y="60"/>
                  </a:cubicBezTo>
                  <a:cubicBezTo>
                    <a:pt x="48" y="53"/>
                    <a:pt x="53" y="48"/>
                    <a:pt x="60" y="48"/>
                  </a:cubicBezTo>
                  <a:cubicBezTo>
                    <a:pt x="67" y="48"/>
                    <a:pt x="72" y="53"/>
                    <a:pt x="72" y="60"/>
                  </a:cubicBezTo>
                  <a:cubicBezTo>
                    <a:pt x="72" y="67"/>
                    <a:pt x="67" y="72"/>
                    <a:pt x="60" y="72"/>
                  </a:cubicBezTo>
                  <a:close/>
                  <a:moveTo>
                    <a:pt x="124" y="152"/>
                  </a:moveTo>
                  <a:cubicBezTo>
                    <a:pt x="117" y="152"/>
                    <a:pt x="112" y="147"/>
                    <a:pt x="112" y="140"/>
                  </a:cubicBezTo>
                  <a:cubicBezTo>
                    <a:pt x="112" y="133"/>
                    <a:pt x="117" y="128"/>
                    <a:pt x="124" y="128"/>
                  </a:cubicBezTo>
                  <a:cubicBezTo>
                    <a:pt x="131" y="128"/>
                    <a:pt x="136" y="133"/>
                    <a:pt x="136" y="140"/>
                  </a:cubicBezTo>
                  <a:cubicBezTo>
                    <a:pt x="136" y="147"/>
                    <a:pt x="131" y="152"/>
                    <a:pt x="124" y="152"/>
                  </a:cubicBezTo>
                  <a:close/>
                  <a:moveTo>
                    <a:pt x="200" y="32"/>
                  </a:moveTo>
                  <a:cubicBezTo>
                    <a:pt x="193" y="32"/>
                    <a:pt x="188" y="27"/>
                    <a:pt x="188" y="20"/>
                  </a:cubicBezTo>
                  <a:cubicBezTo>
                    <a:pt x="188" y="13"/>
                    <a:pt x="193" y="8"/>
                    <a:pt x="200" y="8"/>
                  </a:cubicBezTo>
                  <a:cubicBezTo>
                    <a:pt x="207" y="8"/>
                    <a:pt x="212" y="13"/>
                    <a:pt x="212" y="20"/>
                  </a:cubicBezTo>
                  <a:cubicBezTo>
                    <a:pt x="212" y="27"/>
                    <a:pt x="207" y="32"/>
                    <a:pt x="200" y="32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75438" tIns="37719" rIns="75438" bIns="37719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E454F2C-0BB3-19CD-C2C6-28AD5AA4AC1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305237" y="3697856"/>
            <a:ext cx="8037586" cy="16103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640080" tIns="72000" rIns="72000" bIns="72000" anchor="ctr"/>
          <a:lstStyle/>
          <a:p>
            <a:pPr marL="235732" indent="-235732">
              <a:buClr>
                <a:srgbClr val="003288"/>
              </a:buClr>
              <a:buFont typeface="Arial" panose="020B0604020202020204" pitchFamily="34" charset="0"/>
              <a:buChar char="•"/>
              <a:defRPr/>
            </a:pPr>
            <a:r>
              <a:rPr lang="en-US" sz="1500" b="1" dirty="0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</a:rPr>
              <a:t>High-Mix Focused Production Lines</a:t>
            </a:r>
          </a:p>
          <a:p>
            <a:pPr marL="235732" indent="-235732">
              <a:buClr>
                <a:srgbClr val="003288"/>
              </a:buClr>
              <a:buFont typeface="Arial" panose="020B0604020202020204" pitchFamily="34" charset="0"/>
              <a:buChar char="•"/>
              <a:defRPr/>
            </a:pPr>
            <a:r>
              <a:rPr lang="en-US" sz="1500" b="1" dirty="0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</a:rPr>
              <a:t>Vast Range of Customer Sectors</a:t>
            </a:r>
          </a:p>
          <a:p>
            <a:pPr marL="457178" lvl="1" indent="-182872">
              <a:buClr>
                <a:srgbClr val="003288"/>
              </a:buClr>
              <a:buFont typeface="Arial" panose="020B0604020202020204" pitchFamily="34" charset="0"/>
              <a:buChar char="–"/>
              <a:defRPr/>
            </a:pPr>
            <a:r>
              <a:rPr lang="en-US" sz="1500" dirty="0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</a:rPr>
              <a:t>Mil-Aero</a:t>
            </a:r>
          </a:p>
          <a:p>
            <a:pPr marL="457178" lvl="1" indent="-182872">
              <a:buClr>
                <a:srgbClr val="003288"/>
              </a:buClr>
              <a:buFont typeface="Arial" panose="020B0604020202020204" pitchFamily="34" charset="0"/>
              <a:buChar char="–"/>
              <a:defRPr/>
            </a:pPr>
            <a:r>
              <a:rPr lang="en-US" sz="1500" dirty="0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</a:rPr>
              <a:t>Communication</a:t>
            </a:r>
          </a:p>
          <a:p>
            <a:pPr marL="457178" lvl="1" indent="-182872">
              <a:buClr>
                <a:srgbClr val="003288"/>
              </a:buClr>
              <a:buFont typeface="Arial" panose="020B0604020202020204" pitchFamily="34" charset="0"/>
              <a:buChar char="–"/>
              <a:defRPr/>
            </a:pPr>
            <a:r>
              <a:rPr lang="en-US" sz="1500" dirty="0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</a:rPr>
              <a:t>Medical </a:t>
            </a:r>
          </a:p>
          <a:p>
            <a:pPr marL="457178" lvl="1" indent="-182872">
              <a:buClr>
                <a:srgbClr val="003288"/>
              </a:buClr>
              <a:buFont typeface="Arial" panose="020B0604020202020204" pitchFamily="34" charset="0"/>
              <a:buChar char="–"/>
              <a:defRPr/>
            </a:pPr>
            <a:r>
              <a:rPr lang="en-US" sz="1500" dirty="0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</a:rPr>
              <a:t>Industrial</a:t>
            </a:r>
          </a:p>
        </p:txBody>
      </p:sp>
      <p:sp>
        <p:nvSpPr>
          <p:cNvPr id="15" name="AutoShape 5">
            <a:extLst>
              <a:ext uri="{FF2B5EF4-FFF2-40B4-BE49-F238E27FC236}">
                <a16:creationId xmlns:a16="http://schemas.microsoft.com/office/drawing/2014/main" id="{F50F8249-0577-03B0-4955-17BC3D3C289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148257" y="3693448"/>
            <a:ext cx="2647788" cy="1614709"/>
          </a:xfrm>
          <a:prstGeom prst="homePlate">
            <a:avLst>
              <a:gd name="adj" fmla="val 28910"/>
            </a:avLst>
          </a:prstGeom>
          <a:solidFill>
            <a:srgbClr val="003288"/>
          </a:solidFill>
          <a:ln w="63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274320" bIns="72000" anchor="ctr"/>
          <a:lstStyle/>
          <a:p>
            <a:pPr marL="112707">
              <a:lnSpc>
                <a:spcPct val="90000"/>
              </a:lnSpc>
            </a:pPr>
            <a:endParaRPr lang="en-US" sz="1400" b="1">
              <a:solidFill>
                <a:schemeClr val="bg1"/>
              </a:solidFill>
              <a:latin typeface="Arial"/>
              <a:cs typeface="Arial" pitchFamily="34" charset="0"/>
            </a:endParaRPr>
          </a:p>
          <a:p>
            <a:pPr marL="112707">
              <a:lnSpc>
                <a:spcPct val="90000"/>
              </a:lnSpc>
            </a:pPr>
            <a:endParaRPr lang="en-US" sz="1400" b="1">
              <a:solidFill>
                <a:schemeClr val="bg1"/>
              </a:solidFill>
              <a:latin typeface="Arial"/>
              <a:cs typeface="Arial" pitchFamily="34" charset="0"/>
            </a:endParaRPr>
          </a:p>
          <a:p>
            <a:pPr marL="112707">
              <a:lnSpc>
                <a:spcPct val="90000"/>
              </a:lnSpc>
            </a:pPr>
            <a:endParaRPr lang="en-US" sz="1400" b="1">
              <a:solidFill>
                <a:schemeClr val="bg1"/>
              </a:solidFill>
              <a:latin typeface="Arial"/>
              <a:cs typeface="Arial" pitchFamily="34" charset="0"/>
            </a:endParaRPr>
          </a:p>
          <a:p>
            <a:pPr marL="112707" algn="ctr">
              <a:lnSpc>
                <a:spcPct val="90000"/>
              </a:lnSpc>
            </a:pPr>
            <a:endParaRPr lang="en-US" sz="1400" b="1">
              <a:solidFill>
                <a:schemeClr val="bg1"/>
              </a:solidFill>
              <a:latin typeface="Arial"/>
              <a:cs typeface="Arial" pitchFamily="34" charset="0"/>
            </a:endParaRPr>
          </a:p>
          <a:p>
            <a:pPr marL="112707" algn="ctr">
              <a:lnSpc>
                <a:spcPct val="90000"/>
              </a:lnSpc>
            </a:pPr>
            <a:endParaRPr lang="en-US" sz="1400" b="1">
              <a:solidFill>
                <a:schemeClr val="bg1"/>
              </a:solidFill>
              <a:latin typeface="Arial"/>
              <a:cs typeface="Arial" pitchFamily="34" charset="0"/>
            </a:endParaRPr>
          </a:p>
          <a:p>
            <a:pPr marL="112707" algn="ctr">
              <a:lnSpc>
                <a:spcPct val="90000"/>
              </a:lnSpc>
            </a:pPr>
            <a:r>
              <a:rPr lang="en-US" sz="1400" b="1">
                <a:solidFill>
                  <a:schemeClr val="bg1"/>
                </a:solidFill>
                <a:latin typeface="Arial" pitchFamily="-108" charset="0"/>
              </a:rPr>
              <a:t>Quick Turn / Rapid Prototyping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2B94790-60C6-01AD-59DD-B1741C370AC5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350158" y="5356229"/>
            <a:ext cx="7992665" cy="161470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640080" tIns="72000" rIns="72000" bIns="72000" anchor="ctr"/>
          <a:lstStyle/>
          <a:p>
            <a:pPr marL="235732" indent="-235732">
              <a:buClr>
                <a:srgbClr val="003288"/>
              </a:buClr>
              <a:buFont typeface="Arial" panose="020B0604020202020204" pitchFamily="34" charset="0"/>
              <a:buChar char="•"/>
              <a:defRPr/>
            </a:pPr>
            <a:r>
              <a:rPr lang="en-US" sz="1500" b="1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</a:rPr>
              <a:t>Ability to Service Entire Spectrum</a:t>
            </a:r>
            <a:r>
              <a:rPr lang="en-US" sz="1500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</a:rPr>
              <a:t> – </a:t>
            </a:r>
          </a:p>
          <a:p>
            <a:pPr marL="235732" indent="-235732">
              <a:buClr>
                <a:srgbClr val="003288"/>
              </a:buClr>
              <a:buFont typeface="Arial" panose="020B0604020202020204" pitchFamily="34" charset="0"/>
              <a:buChar char="•"/>
              <a:defRPr/>
            </a:pPr>
            <a:r>
              <a:rPr lang="en-US" sz="1500" b="1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</a:rPr>
              <a:t>Surface Mount, Thru-Hole &amp; Mixed Technologies</a:t>
            </a:r>
          </a:p>
          <a:p>
            <a:pPr marL="235732" indent="-235732">
              <a:buClr>
                <a:srgbClr val="003288"/>
              </a:buClr>
              <a:buFont typeface="Arial" panose="020B0604020202020204" pitchFamily="34" charset="0"/>
              <a:buChar char="•"/>
              <a:defRPr/>
            </a:pPr>
            <a:r>
              <a:rPr lang="en-US" sz="1500" b="1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</a:rPr>
              <a:t>Technical Leadership </a:t>
            </a:r>
            <a:r>
              <a:rPr lang="en-US" sz="1500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</a:rPr>
              <a:t>– </a:t>
            </a:r>
          </a:p>
          <a:p>
            <a:pPr marL="235732" indent="-235732">
              <a:buClr>
                <a:srgbClr val="003288"/>
              </a:buClr>
              <a:buFont typeface="Arial" panose="020B0604020202020204" pitchFamily="34" charset="0"/>
              <a:buChar char="•"/>
              <a:defRPr/>
            </a:pPr>
            <a:r>
              <a:rPr lang="en-US" sz="1500" b="1">
                <a:solidFill>
                  <a:srgbClr val="273379"/>
                </a:solidFill>
                <a:latin typeface="Montserrat" pitchFamily="2" charset="0"/>
                <a:ea typeface="Source Sans Pro Light" panose="020B0403030403020204" pitchFamily="34" charset="0"/>
              </a:rPr>
              <a:t>25+ years of Electronics Manufacturing Experience</a:t>
            </a:r>
            <a:endParaRPr lang="en-US" sz="1500">
              <a:solidFill>
                <a:srgbClr val="273379"/>
              </a:solidFill>
              <a:latin typeface="Montserrat" pitchFamily="2" charset="0"/>
              <a:ea typeface="Source Sans Pro Light" panose="020B0403030403020204" pitchFamily="34" charset="0"/>
            </a:endParaRPr>
          </a:p>
        </p:txBody>
      </p:sp>
      <p:sp>
        <p:nvSpPr>
          <p:cNvPr id="17" name="AutoShape 5">
            <a:extLst>
              <a:ext uri="{FF2B5EF4-FFF2-40B4-BE49-F238E27FC236}">
                <a16:creationId xmlns:a16="http://schemas.microsoft.com/office/drawing/2014/main" id="{B8B67B80-28BD-5D7D-2B9E-3D1CE7483B3F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148257" y="5356230"/>
            <a:ext cx="2647788" cy="1614709"/>
          </a:xfrm>
          <a:prstGeom prst="homePlate">
            <a:avLst>
              <a:gd name="adj" fmla="val 28910"/>
            </a:avLst>
          </a:prstGeom>
          <a:solidFill>
            <a:srgbClr val="003288"/>
          </a:solidFill>
          <a:ln w="63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274320" bIns="72000" anchor="ctr"/>
          <a:lstStyle/>
          <a:p>
            <a:pPr marL="112707">
              <a:lnSpc>
                <a:spcPct val="90000"/>
              </a:lnSpc>
            </a:pPr>
            <a:endParaRPr lang="en-US" sz="1400" b="1">
              <a:solidFill>
                <a:schemeClr val="bg1"/>
              </a:solidFill>
              <a:latin typeface="Arial" pitchFamily="-108" charset="0"/>
            </a:endParaRPr>
          </a:p>
          <a:p>
            <a:pPr marL="112707">
              <a:lnSpc>
                <a:spcPct val="90000"/>
              </a:lnSpc>
            </a:pPr>
            <a:endParaRPr lang="en-US" sz="1400" b="1">
              <a:solidFill>
                <a:schemeClr val="bg1"/>
              </a:solidFill>
              <a:latin typeface="Arial" pitchFamily="-108" charset="0"/>
            </a:endParaRPr>
          </a:p>
          <a:p>
            <a:pPr marL="112707">
              <a:lnSpc>
                <a:spcPct val="90000"/>
              </a:lnSpc>
            </a:pPr>
            <a:endParaRPr lang="en-US" sz="1400" b="1">
              <a:solidFill>
                <a:schemeClr val="bg1"/>
              </a:solidFill>
              <a:latin typeface="Arial" pitchFamily="-108" charset="0"/>
            </a:endParaRPr>
          </a:p>
          <a:p>
            <a:pPr marL="112707">
              <a:lnSpc>
                <a:spcPct val="90000"/>
              </a:lnSpc>
            </a:pPr>
            <a:endParaRPr lang="en-US" sz="1400" b="1">
              <a:solidFill>
                <a:schemeClr val="bg1"/>
              </a:solidFill>
              <a:latin typeface="Arial" pitchFamily="-108" charset="0"/>
            </a:endParaRPr>
          </a:p>
          <a:p>
            <a:pPr marL="112707">
              <a:lnSpc>
                <a:spcPct val="90000"/>
              </a:lnSpc>
            </a:pPr>
            <a:endParaRPr lang="en-US" sz="1400" b="1">
              <a:solidFill>
                <a:schemeClr val="bg1"/>
              </a:solidFill>
              <a:latin typeface="Arial" pitchFamily="-108" charset="0"/>
            </a:endParaRPr>
          </a:p>
          <a:p>
            <a:pPr marL="112707">
              <a:lnSpc>
                <a:spcPct val="90000"/>
              </a:lnSpc>
            </a:pPr>
            <a:endParaRPr lang="en-US" sz="1400" b="1">
              <a:solidFill>
                <a:schemeClr val="bg1"/>
              </a:solidFill>
              <a:latin typeface="Arial" pitchFamily="-108" charset="0"/>
            </a:endParaRPr>
          </a:p>
          <a:p>
            <a:pPr marL="112707" algn="ctr">
              <a:lnSpc>
                <a:spcPct val="90000"/>
              </a:lnSpc>
            </a:pPr>
            <a:r>
              <a:rPr lang="en-US" sz="1400" b="1">
                <a:solidFill>
                  <a:schemeClr val="bg1"/>
                </a:solidFill>
                <a:latin typeface="Arial" pitchFamily="-108" charset="0"/>
              </a:rPr>
              <a:t>Mixed Technology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1F374BA-113E-ED53-9E30-C8F84C68999A}"/>
              </a:ext>
            </a:extLst>
          </p:cNvPr>
          <p:cNvGrpSpPr/>
          <p:nvPr/>
        </p:nvGrpSpPr>
        <p:grpSpPr>
          <a:xfrm>
            <a:off x="2825512" y="3955782"/>
            <a:ext cx="673796" cy="675639"/>
            <a:chOff x="1612574" y="3345775"/>
            <a:chExt cx="698920" cy="69892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9FCCA82-8D01-1D96-AC46-92147717EAAE}"/>
                </a:ext>
              </a:extLst>
            </p:cNvPr>
            <p:cNvSpPr/>
            <p:nvPr/>
          </p:nvSpPr>
          <p:spPr>
            <a:xfrm flipH="1">
              <a:off x="1612574" y="3345775"/>
              <a:ext cx="698920" cy="6989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444500" dist="190500" dir="5400000" sx="90000" sy="9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  <p:pic>
          <p:nvPicPr>
            <p:cNvPr id="20" name="Graphic 19" descr="Badge Tick with solid fill">
              <a:extLst>
                <a:ext uri="{FF2B5EF4-FFF2-40B4-BE49-F238E27FC236}">
                  <a16:creationId xmlns:a16="http://schemas.microsoft.com/office/drawing/2014/main" id="{FF4221D9-4ED7-FC62-8238-59782A7612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748747" y="3481948"/>
              <a:ext cx="426575" cy="426575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B496524-0E14-D49F-8921-18A9AA6E5F5E}"/>
              </a:ext>
            </a:extLst>
          </p:cNvPr>
          <p:cNvGrpSpPr/>
          <p:nvPr/>
        </p:nvGrpSpPr>
        <p:grpSpPr>
          <a:xfrm>
            <a:off x="2817169" y="5712600"/>
            <a:ext cx="673796" cy="675639"/>
            <a:chOff x="1612574" y="4523298"/>
            <a:chExt cx="698920" cy="69892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D2E68BE8-D6A0-9523-B6EC-FB6E7BF4E9C8}"/>
                </a:ext>
              </a:extLst>
            </p:cNvPr>
            <p:cNvSpPr/>
            <p:nvPr/>
          </p:nvSpPr>
          <p:spPr>
            <a:xfrm flipH="1">
              <a:off x="1612574" y="4523298"/>
              <a:ext cx="698920" cy="6989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444500" dist="190500" dir="5400000" sx="90000" sy="9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>
                <a:latin typeface="Source Sans Pro Light" panose="020B0403030403020204" pitchFamily="34" charset="0"/>
                <a:ea typeface="Source Sans Pro Light" panose="020B0403030403020204" pitchFamily="34" charset="0"/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1C6C7E55-AEF8-E8A1-E92B-9401D231FF06}"/>
                </a:ext>
              </a:extLst>
            </p:cNvPr>
            <p:cNvGrpSpPr/>
            <p:nvPr/>
          </p:nvGrpSpPr>
          <p:grpSpPr>
            <a:xfrm>
              <a:off x="1756571" y="4658732"/>
              <a:ext cx="410926" cy="428053"/>
              <a:chOff x="1608427" y="4883617"/>
              <a:chExt cx="410926" cy="428053"/>
            </a:xfrm>
            <a:solidFill>
              <a:srgbClr val="AE2A31"/>
            </a:solidFill>
          </p:grpSpPr>
          <p:pic>
            <p:nvPicPr>
              <p:cNvPr id="24" name="Graphic 23" descr="Wrench with solid fill">
                <a:extLst>
                  <a:ext uri="{FF2B5EF4-FFF2-40B4-BE49-F238E27FC236}">
                    <a16:creationId xmlns:a16="http://schemas.microsoft.com/office/drawing/2014/main" id="{4641E446-6262-5DC6-6959-101B787ED2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1754484" y="5046801"/>
                <a:ext cx="264869" cy="264869"/>
              </a:xfrm>
              <a:prstGeom prst="rect">
                <a:avLst/>
              </a:prstGeom>
            </p:spPr>
          </p:pic>
          <p:pic>
            <p:nvPicPr>
              <p:cNvPr id="25" name="Graphic 24" descr="Blueprint with solid fill">
                <a:extLst>
                  <a:ext uri="{FF2B5EF4-FFF2-40B4-BE49-F238E27FC236}">
                    <a16:creationId xmlns:a16="http://schemas.microsoft.com/office/drawing/2014/main" id="{8875F1D4-6227-AA04-8006-9D70AED0DD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1608427" y="4883617"/>
                <a:ext cx="264869" cy="26487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275113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3E00951D-4999-D534-B6E8-AF89CBEABE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cused Markets and Certification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E816ECD-EBB9-0F25-2CEF-E094B3068A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86FC1408-6C85-3F8A-F2D4-5758A02A1D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4818896"/>
              </p:ext>
            </p:extLst>
          </p:nvPr>
        </p:nvGraphicFramePr>
        <p:xfrm>
          <a:off x="2235199" y="1034647"/>
          <a:ext cx="8940800" cy="581101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470400">
                  <a:extLst>
                    <a:ext uri="{9D8B030D-6E8A-4147-A177-3AD203B41FA5}">
                      <a16:colId xmlns:a16="http://schemas.microsoft.com/office/drawing/2014/main" val="1851700335"/>
                    </a:ext>
                  </a:extLst>
                </a:gridCol>
                <a:gridCol w="4470400">
                  <a:extLst>
                    <a:ext uri="{9D8B030D-6E8A-4147-A177-3AD203B41FA5}">
                      <a16:colId xmlns:a16="http://schemas.microsoft.com/office/drawing/2014/main" val="2794864207"/>
                    </a:ext>
                  </a:extLst>
                </a:gridCol>
              </a:tblGrid>
              <a:tr h="2905508">
                <a:tc>
                  <a:txBody>
                    <a:bodyPr/>
                    <a:lstStyle/>
                    <a:p>
                      <a:r>
                        <a:rPr lang="en-US" dirty="0"/>
                        <a:t>Aerospace and Defen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edic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8437567"/>
                  </a:ext>
                </a:extLst>
              </a:tr>
              <a:tr h="2905508">
                <a:tc>
                  <a:txBody>
                    <a:bodyPr/>
                    <a:lstStyle/>
                    <a:p>
                      <a:r>
                        <a:rPr lang="en-US" dirty="0"/>
                        <a:t>High Reliability Industrial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overning Certifica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1585661"/>
                  </a:ext>
                </a:extLst>
              </a:tr>
            </a:tbl>
          </a:graphicData>
        </a:graphic>
      </p:graphicFrame>
      <p:pic>
        <p:nvPicPr>
          <p:cNvPr id="26" name="Picture 2">
            <a:extLst>
              <a:ext uri="{FF2B5EF4-FFF2-40B4-BE49-F238E27FC236}">
                <a16:creationId xmlns:a16="http://schemas.microsoft.com/office/drawing/2014/main" id="{21D2831F-587E-1911-DCBF-E9197FF823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4891" y="4264152"/>
            <a:ext cx="815008" cy="766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4">
            <a:extLst>
              <a:ext uri="{FF2B5EF4-FFF2-40B4-BE49-F238E27FC236}">
                <a16:creationId xmlns:a16="http://schemas.microsoft.com/office/drawing/2014/main" id="{FE5DD3BF-5224-33A2-E873-7553C66543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7355" y="5858659"/>
            <a:ext cx="815008" cy="851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6">
            <a:extLst>
              <a:ext uri="{FF2B5EF4-FFF2-40B4-BE49-F238E27FC236}">
                <a16:creationId xmlns:a16="http://schemas.microsoft.com/office/drawing/2014/main" id="{E2A45A13-E40C-7ED1-7E76-B7DD0C3A8F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6496" y="5813744"/>
            <a:ext cx="976411" cy="990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4" descr="How CMMC Compliance Aligns with NIST SP 800-171 - Agile IT">
            <a:extLst>
              <a:ext uri="{FF2B5EF4-FFF2-40B4-BE49-F238E27FC236}">
                <a16:creationId xmlns:a16="http://schemas.microsoft.com/office/drawing/2014/main" id="{1F2E17CB-F42F-B4CC-732A-72C1E3DC4C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633" y="5750647"/>
            <a:ext cx="1984513" cy="934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2">
            <a:extLst>
              <a:ext uri="{FF2B5EF4-FFF2-40B4-BE49-F238E27FC236}">
                <a16:creationId xmlns:a16="http://schemas.microsoft.com/office/drawing/2014/main" id="{3FED1519-32E0-2038-417A-7D738512F2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7363" y="4301948"/>
            <a:ext cx="1820932" cy="408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0" descr="Logos - Amtivo">
            <a:extLst>
              <a:ext uri="{FF2B5EF4-FFF2-40B4-BE49-F238E27FC236}">
                <a16:creationId xmlns:a16="http://schemas.microsoft.com/office/drawing/2014/main" id="{094A5338-A26F-51C7-4F32-AD2CDE5A7F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6496" y="4216304"/>
            <a:ext cx="976411" cy="701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8">
            <a:extLst>
              <a:ext uri="{FF2B5EF4-FFF2-40B4-BE49-F238E27FC236}">
                <a16:creationId xmlns:a16="http://schemas.microsoft.com/office/drawing/2014/main" id="{75578FEF-4AD8-480D-9C4F-2710442672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6496" y="4951103"/>
            <a:ext cx="976411" cy="829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8" name="Picture 20" descr="Portfolio Gallery Image">
            <a:extLst>
              <a:ext uri="{FF2B5EF4-FFF2-40B4-BE49-F238E27FC236}">
                <a16:creationId xmlns:a16="http://schemas.microsoft.com/office/drawing/2014/main" id="{EA72FD45-0DBF-62A2-B9DF-958D862286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376" y="4019296"/>
            <a:ext cx="1776048" cy="2690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0" name="Picture 22">
            <a:extLst>
              <a:ext uri="{FF2B5EF4-FFF2-40B4-BE49-F238E27FC236}">
                <a16:creationId xmlns:a16="http://schemas.microsoft.com/office/drawing/2014/main" id="{D7A06A70-E8EB-938B-69B1-7518E70708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4519" y="4428118"/>
            <a:ext cx="777450" cy="438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4" name="Picture 26">
            <a:extLst>
              <a:ext uri="{FF2B5EF4-FFF2-40B4-BE49-F238E27FC236}">
                <a16:creationId xmlns:a16="http://schemas.microsoft.com/office/drawing/2014/main" id="{F82FBCD3-C61C-D0FE-E755-AD74C88FBE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6385" y="4435597"/>
            <a:ext cx="1235765" cy="438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 descr="A close up of a logo&#10;&#10;AI-generated content may be incorrect.">
            <a:extLst>
              <a:ext uri="{FF2B5EF4-FFF2-40B4-BE49-F238E27FC236}">
                <a16:creationId xmlns:a16="http://schemas.microsoft.com/office/drawing/2014/main" id="{D46C89BF-B79B-BA38-8EEF-C004E20550B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316" y="1452573"/>
            <a:ext cx="1431985" cy="443947"/>
          </a:xfrm>
          <a:prstGeom prst="rect">
            <a:avLst/>
          </a:prstGeom>
        </p:spPr>
      </p:pic>
      <p:pic>
        <p:nvPicPr>
          <p:cNvPr id="2080" name="Picture 32">
            <a:extLst>
              <a:ext uri="{FF2B5EF4-FFF2-40B4-BE49-F238E27FC236}">
                <a16:creationId xmlns:a16="http://schemas.microsoft.com/office/drawing/2014/main" id="{7248C664-14A9-D51A-C66C-203E729725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4653" y="1452573"/>
            <a:ext cx="1387714" cy="851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82" name="Picture 34">
            <a:extLst>
              <a:ext uri="{FF2B5EF4-FFF2-40B4-BE49-F238E27FC236}">
                <a16:creationId xmlns:a16="http://schemas.microsoft.com/office/drawing/2014/main" id="{2F1E76FB-01C7-AAA2-7B7D-322AC0C993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9319" y="1913909"/>
            <a:ext cx="1124212" cy="110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84" name="Picture 36">
            <a:extLst>
              <a:ext uri="{FF2B5EF4-FFF2-40B4-BE49-F238E27FC236}">
                <a16:creationId xmlns:a16="http://schemas.microsoft.com/office/drawing/2014/main" id="{28F029EC-3BD1-C65F-78C7-24EEF50908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9410" y="2438243"/>
            <a:ext cx="979100" cy="1339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86" name="Picture 38">
            <a:extLst>
              <a:ext uri="{FF2B5EF4-FFF2-40B4-BE49-F238E27FC236}">
                <a16:creationId xmlns:a16="http://schemas.microsoft.com/office/drawing/2014/main" id="{741EF63F-7A08-3429-2020-319045E647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8626" y="3136021"/>
            <a:ext cx="1489364" cy="393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4" descr="AMETEK Rotron | AMETEK Hughes-Treitler Parts and Supplies">
            <a:extLst>
              <a:ext uri="{FF2B5EF4-FFF2-40B4-BE49-F238E27FC236}">
                <a16:creationId xmlns:a16="http://schemas.microsoft.com/office/drawing/2014/main" id="{5B32A7F6-6DAB-D34A-E0BB-7850194AFC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4363" y="2544646"/>
            <a:ext cx="915275" cy="540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88" name="Picture 40">
            <a:extLst>
              <a:ext uri="{FF2B5EF4-FFF2-40B4-BE49-F238E27FC236}">
                <a16:creationId xmlns:a16="http://schemas.microsoft.com/office/drawing/2014/main" id="{FD1A3085-D7B6-D822-B8BA-7B2CD4E22F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7110" y="4970411"/>
            <a:ext cx="661400" cy="683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90" name="Picture 42">
            <a:extLst>
              <a:ext uri="{FF2B5EF4-FFF2-40B4-BE49-F238E27FC236}">
                <a16:creationId xmlns:a16="http://schemas.microsoft.com/office/drawing/2014/main" id="{F6DA1E1C-58C0-B640-D00E-721B0B65C7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4407" y="4888043"/>
            <a:ext cx="877674" cy="1077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92" name="Picture 44">
            <a:extLst>
              <a:ext uri="{FF2B5EF4-FFF2-40B4-BE49-F238E27FC236}">
                <a16:creationId xmlns:a16="http://schemas.microsoft.com/office/drawing/2014/main" id="{806D7266-2765-CF24-B965-4D164CEF5D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5907" y="6106906"/>
            <a:ext cx="1954242" cy="567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94" name="Picture 46">
            <a:extLst>
              <a:ext uri="{FF2B5EF4-FFF2-40B4-BE49-F238E27FC236}">
                <a16:creationId xmlns:a16="http://schemas.microsoft.com/office/drawing/2014/main" id="{9614F817-2040-BE7D-CC28-5491662AE0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633" y="1508361"/>
            <a:ext cx="1592325" cy="739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98" name="Picture 50" descr="Medtronic logo with tagline Engineering the extraordinary">
            <a:extLst>
              <a:ext uri="{FF2B5EF4-FFF2-40B4-BE49-F238E27FC236}">
                <a16:creationId xmlns:a16="http://schemas.microsoft.com/office/drawing/2014/main" id="{24BCADB8-8315-99A6-BA99-BF11F1C8A7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4859" y="1610812"/>
            <a:ext cx="1523687" cy="571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02" name="Picture 54" descr="Web page related images">
            <a:extLst>
              <a:ext uri="{FF2B5EF4-FFF2-40B4-BE49-F238E27FC236}">
                <a16:creationId xmlns:a16="http://schemas.microsoft.com/office/drawing/2014/main" id="{D1AA89E2-4E9D-1D12-04AF-9E0F42B8A0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2363" y="2384558"/>
            <a:ext cx="1053313" cy="1060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06" name="Picture 58" descr="Covidien Logo - Analysis: What does the union of Medtronic and Covidien mean for ...">
            <a:extLst>
              <a:ext uri="{FF2B5EF4-FFF2-40B4-BE49-F238E27FC236}">
                <a16:creationId xmlns:a16="http://schemas.microsoft.com/office/drawing/2014/main" id="{0CA993D8-631D-C596-6C43-5CA96325D6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633" y="2458247"/>
            <a:ext cx="2541753" cy="1323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46481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EF6F94-9C2C-261D-1E8A-6B0F9D9B9A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7693017"/>
              </p:ext>
            </p:extLst>
          </p:nvPr>
        </p:nvGraphicFramePr>
        <p:xfrm>
          <a:off x="16779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0EF6F94-9C2C-261D-1E8A-6B0F9D9B9A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779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73;p14">
            <a:extLst>
              <a:ext uri="{FF2B5EF4-FFF2-40B4-BE49-F238E27FC236}">
                <a16:creationId xmlns:a16="http://schemas.microsoft.com/office/drawing/2014/main" id="{CC058609-6BB2-1E78-5A34-C22762AADD3B}"/>
              </a:ext>
            </a:extLst>
          </p:cNvPr>
          <p:cNvSpPr txBox="1"/>
          <p:nvPr/>
        </p:nvSpPr>
        <p:spPr>
          <a:xfrm>
            <a:off x="6723407" y="1353890"/>
            <a:ext cx="6163031" cy="10756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5426" tIns="75426" rIns="75426" bIns="75426" anchor="t" anchorCtr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1pPr>
            <a:lvl2pPr marL="34880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2pPr>
            <a:lvl3pPr marL="697609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3pPr>
            <a:lvl4pPr marL="104641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4pPr>
            <a:lvl5pPr marL="1395216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5pPr>
            <a:lvl6pPr marL="1744020" algn="l" defTabSz="697609" rtl="0" eaLnBrk="1" latinLnBrk="0" hangingPunct="1">
              <a:defRPr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6pPr>
            <a:lvl7pPr marL="2092822" algn="l" defTabSz="697609" rtl="0" eaLnBrk="1" latinLnBrk="0" hangingPunct="1">
              <a:defRPr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7pPr>
            <a:lvl8pPr marL="2441627" algn="l" defTabSz="697609" rtl="0" eaLnBrk="1" latinLnBrk="0" hangingPunct="1">
              <a:defRPr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8pPr>
            <a:lvl9pPr marL="2790431" algn="l" defTabSz="697609" rtl="0" eaLnBrk="1" latinLnBrk="0" hangingPunct="1">
              <a:defRPr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000" b="1">
                <a:solidFill>
                  <a:srgbClr val="00328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pitchFamily="2" charset="0"/>
                <a:cs typeface="Calibri"/>
              </a:rPr>
              <a:t>Strategic Vision, Forward Opportunities</a:t>
            </a:r>
          </a:p>
        </p:txBody>
      </p:sp>
      <p:cxnSp>
        <p:nvCxnSpPr>
          <p:cNvPr id="70" name="Google Shape;70;p14"/>
          <p:cNvCxnSpPr>
            <a:cxnSpLocks/>
          </p:cNvCxnSpPr>
          <p:nvPr/>
        </p:nvCxnSpPr>
        <p:spPr>
          <a:xfrm flipH="1" flipV="1">
            <a:off x="6122388" y="0"/>
            <a:ext cx="25507" cy="7543800"/>
          </a:xfrm>
          <a:prstGeom prst="straightConnector1">
            <a:avLst/>
          </a:prstGeom>
          <a:noFill/>
          <a:ln w="76200" cap="flat" cmpd="sng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5" name="Slide Number Placeholder 2">
            <a:extLst>
              <a:ext uri="{FF2B5EF4-FFF2-40B4-BE49-F238E27FC236}">
                <a16:creationId xmlns:a16="http://schemas.microsoft.com/office/drawing/2014/main" id="{B3BFEB3E-3265-BEA5-7409-938A23BBC166}"/>
              </a:ext>
            </a:extLst>
          </p:cNvPr>
          <p:cNvSpPr>
            <a:spLocks noGrp="1"/>
          </p:cNvSpPr>
          <p:nvPr/>
        </p:nvSpPr>
        <p:spPr>
          <a:xfrm>
            <a:off x="8780145" y="6991989"/>
            <a:ext cx="2263140" cy="401638"/>
          </a:xfrm>
          <a:prstGeom prst="rect">
            <a:avLst/>
          </a:prstGeom>
        </p:spPr>
        <p:txBody>
          <a:bodyPr vert="horz" lIns="100584" tIns="50292" rIns="100584" bIns="50292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679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2pPr>
            <a:lvl3pPr marL="913579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3pPr>
            <a:lvl4pPr marL="1370364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4pPr>
            <a:lvl5pPr marL="1827156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5pPr>
            <a:lvl6pPr marL="2283944" algn="l" defTabSz="913579" rtl="0" eaLnBrk="1" latinLnBrk="0" hangingPunct="1">
              <a:defRPr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6pPr>
            <a:lvl7pPr marL="2740731" algn="l" defTabSz="913579" rtl="0" eaLnBrk="1" latinLnBrk="0" hangingPunct="1">
              <a:defRPr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7pPr>
            <a:lvl8pPr marL="3197521" algn="l" defTabSz="913579" rtl="0" eaLnBrk="1" latinLnBrk="0" hangingPunct="1">
              <a:defRPr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8pPr>
            <a:lvl9pPr marL="3654310" algn="l" defTabSz="913579" rtl="0" eaLnBrk="1" latinLnBrk="0" hangingPunct="1">
              <a:defRPr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US" sz="1320"/>
          </a:p>
        </p:txBody>
      </p:sp>
      <p:cxnSp>
        <p:nvCxnSpPr>
          <p:cNvPr id="7" name="Google Shape;72;p14">
            <a:extLst>
              <a:ext uri="{FF2B5EF4-FFF2-40B4-BE49-F238E27FC236}">
                <a16:creationId xmlns:a16="http://schemas.microsoft.com/office/drawing/2014/main" id="{0E2D9526-115A-2295-32AF-9E93206D2754}"/>
              </a:ext>
            </a:extLst>
          </p:cNvPr>
          <p:cNvCxnSpPr>
            <a:cxnSpLocks/>
          </p:cNvCxnSpPr>
          <p:nvPr/>
        </p:nvCxnSpPr>
        <p:spPr>
          <a:xfrm flipV="1">
            <a:off x="7434799" y="2659931"/>
            <a:ext cx="4740246" cy="17144"/>
          </a:xfrm>
          <a:prstGeom prst="straightConnector1">
            <a:avLst/>
          </a:prstGeom>
          <a:noFill/>
          <a:ln w="19050" cap="flat" cmpd="sng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" name="Google Shape;72;p14">
            <a:extLst>
              <a:ext uri="{FF2B5EF4-FFF2-40B4-BE49-F238E27FC236}">
                <a16:creationId xmlns:a16="http://schemas.microsoft.com/office/drawing/2014/main" id="{67EFEB16-7775-13EA-545A-B3F666754DE1}"/>
              </a:ext>
            </a:extLst>
          </p:cNvPr>
          <p:cNvCxnSpPr>
            <a:cxnSpLocks/>
          </p:cNvCxnSpPr>
          <p:nvPr/>
        </p:nvCxnSpPr>
        <p:spPr>
          <a:xfrm flipV="1">
            <a:off x="7434799" y="2908357"/>
            <a:ext cx="4740246" cy="17144"/>
          </a:xfrm>
          <a:prstGeom prst="straightConnector1">
            <a:avLst/>
          </a:prstGeom>
          <a:noFill/>
          <a:ln w="19050" cap="flat" cmpd="sng">
            <a:solidFill>
              <a:srgbClr val="DE6217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FED47244-8AB9-B4B5-AD1F-00926745CC6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407" y="3032173"/>
            <a:ext cx="6163031" cy="3853144"/>
          </a:xfrm>
          <a:prstGeom prst="rect">
            <a:avLst/>
          </a:prstGeom>
          <a:effectLst>
            <a:glow rad="63500">
              <a:srgbClr val="9EA8C6">
                <a:alpha val="40000"/>
              </a:srgbClr>
            </a:glow>
            <a:outerShdw blurRad="406400" dist="50800" dir="5400000" algn="ctr" rotWithShape="0">
              <a:srgbClr val="9EA8C6">
                <a:alpha val="43000"/>
              </a:srgbClr>
            </a:outerShdw>
            <a:softEdge rad="31750"/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1CE68E8-4B6F-6604-239A-48F0EBCEDFB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18932" y="1092706"/>
            <a:ext cx="3081440" cy="3081440"/>
          </a:xfrm>
          <a:prstGeom prst="rect">
            <a:avLst/>
          </a:prstGeom>
          <a:ln w="57150">
            <a:solidFill>
              <a:srgbClr val="D8DCE8">
                <a:alpha val="71000"/>
              </a:srgbClr>
            </a:solidFill>
          </a:ln>
          <a:effectLst/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15DABC0-A57C-ECB6-447E-E77DB6ACBFE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183" y="4334820"/>
            <a:ext cx="4799693" cy="2448732"/>
          </a:xfrm>
          <a:prstGeom prst="rect">
            <a:avLst/>
          </a:prstGeom>
          <a:ln w="57150">
            <a:solidFill>
              <a:srgbClr val="D8DCE8">
                <a:alpha val="71000"/>
              </a:srgbClr>
            </a:solidFill>
          </a:ln>
        </p:spPr>
      </p:pic>
    </p:spTree>
    <p:extLst>
      <p:ext uri="{BB962C8B-B14F-4D97-AF65-F5344CB8AC3E}">
        <p14:creationId xmlns:p14="http://schemas.microsoft.com/office/powerpoint/2010/main" val="2490802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A51A9C-93A8-7B48-4498-A3DEDB637C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7B6C1D-7B1F-CCC9-26E8-F309F2B88B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458" y="1071841"/>
            <a:ext cx="12596283" cy="442913"/>
          </a:xfrm>
        </p:spPr>
        <p:txBody>
          <a:bodyPr/>
          <a:lstStyle/>
          <a:p>
            <a:r>
              <a: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ey Planned Initiatives: </a:t>
            </a:r>
            <a:r>
              <a:rPr lang="en-US" b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List 1/2)</a:t>
            </a:r>
            <a:endParaRPr lang="en-US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7EC198-3298-2B63-FCBF-3BD6033E5A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EA84C1E-289D-D5D9-05BA-E8FB0D0B30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8028854"/>
              </p:ext>
            </p:extLst>
          </p:nvPr>
        </p:nvGraphicFramePr>
        <p:xfrm>
          <a:off x="803082" y="1558456"/>
          <a:ext cx="11386268" cy="52658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3542">
                  <a:extLst>
                    <a:ext uri="{9D8B030D-6E8A-4147-A177-3AD203B41FA5}">
                      <a16:colId xmlns:a16="http://schemas.microsoft.com/office/drawing/2014/main" val="711638087"/>
                    </a:ext>
                  </a:extLst>
                </a:gridCol>
                <a:gridCol w="4426242">
                  <a:extLst>
                    <a:ext uri="{9D8B030D-6E8A-4147-A177-3AD203B41FA5}">
                      <a16:colId xmlns:a16="http://schemas.microsoft.com/office/drawing/2014/main" val="1995848180"/>
                    </a:ext>
                  </a:extLst>
                </a:gridCol>
                <a:gridCol w="3326076">
                  <a:extLst>
                    <a:ext uri="{9D8B030D-6E8A-4147-A177-3AD203B41FA5}">
                      <a16:colId xmlns:a16="http://schemas.microsoft.com/office/drawing/2014/main" val="322367059"/>
                    </a:ext>
                  </a:extLst>
                </a:gridCol>
                <a:gridCol w="1830408">
                  <a:extLst>
                    <a:ext uri="{9D8B030D-6E8A-4147-A177-3AD203B41FA5}">
                      <a16:colId xmlns:a16="http://schemas.microsoft.com/office/drawing/2014/main" val="161579686"/>
                    </a:ext>
                  </a:extLst>
                </a:gridCol>
              </a:tblGrid>
              <a:tr h="589787"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Initiative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2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Description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2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Key Benefit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2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Implementation Schedul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28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9453034"/>
                  </a:ext>
                </a:extLst>
              </a:tr>
              <a:tr h="1468519">
                <a:tc>
                  <a:txBody>
                    <a:bodyPr/>
                    <a:lstStyle/>
                    <a:p>
                      <a:pPr algn="ctr"/>
                      <a:r>
                        <a:rPr lang="en-US" sz="1400" b="1"/>
                        <a:t>Plex Implementation</a:t>
                      </a:r>
                    </a:p>
                  </a:txBody>
                  <a:tcPr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69863" indent="-169863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Implementation of ERP and MES system</a:t>
                      </a:r>
                    </a:p>
                    <a:p>
                      <a:pPr marL="169863" indent="-169863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Implemented in Jacksonville, IL plant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69863" indent="-169863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Increased plant performance and revenue growth</a:t>
                      </a:r>
                    </a:p>
                    <a:p>
                      <a:pPr marL="169863" indent="-169863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Risk mitigation</a:t>
                      </a:r>
                    </a:p>
                    <a:p>
                      <a:pPr marL="169863" indent="-169863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Maintain quality</a:t>
                      </a:r>
                    </a:p>
                    <a:p>
                      <a:pPr marL="169863" indent="-169863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Human capital management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rgbClr val="FF0000"/>
                          </a:solidFill>
                        </a:rPr>
                        <a:t>Complete</a:t>
                      </a:r>
                      <a:endParaRPr lang="en-US" sz="1400" i="1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0762270"/>
                  </a:ext>
                </a:extLst>
              </a:tr>
              <a:tr h="173903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effectLst/>
                          <a:latin typeface="Arial" panose="020B0604020202020204" pitchFamily="34" charset="0"/>
                        </a:rPr>
                        <a:t>MODI Incoming Goods Scanner</a:t>
                      </a:r>
                      <a:endParaRPr lang="id-ID" sz="14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69863" indent="-169863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Automatic label matching system</a:t>
                      </a:r>
                    </a:p>
                    <a:p>
                      <a:pPr marL="169863" indent="-169863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Simplifies receiving process from incoming goods to existing POs</a:t>
                      </a:r>
                    </a:p>
                    <a:p>
                      <a:pPr marL="169863" marR="0" lvl="0" indent="-1698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288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/>
                        <a:t>Implemented in Jacksonville, IL plant.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4625" lvl="0" indent="-174625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Fully integrated with Plex</a:t>
                      </a:r>
                    </a:p>
                    <a:p>
                      <a:pPr marL="174625" lvl="0" indent="-174625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Traceability of parts</a:t>
                      </a:r>
                    </a:p>
                    <a:p>
                      <a:pPr marL="174625" lvl="0" indent="-174625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Inventory accuracy</a:t>
                      </a:r>
                    </a:p>
                    <a:p>
                      <a:pPr marL="174625" lvl="0" indent="-174625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Reduce splicing errors</a:t>
                      </a:r>
                    </a:p>
                    <a:p>
                      <a:pPr marL="174625" lvl="0" indent="-174625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Reduce rework by labeling</a:t>
                      </a:r>
                    </a:p>
                    <a:p>
                      <a:pPr marL="174625" lvl="0" indent="-174625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Increased kitting productivity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rgbClr val="FF0000"/>
                          </a:solidFill>
                        </a:rPr>
                        <a:t>Complet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6619448"/>
                  </a:ext>
                </a:extLst>
              </a:tr>
              <a:tr h="146851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err="1">
                          <a:effectLst/>
                          <a:latin typeface="Arial" panose="020B0604020202020204" pitchFamily="34" charset="0"/>
                        </a:rPr>
                        <a:t>VisiConsult</a:t>
                      </a:r>
                      <a:r>
                        <a:rPr lang="en-US" sz="1400" b="1" i="0" u="none" strike="noStrike">
                          <a:effectLst/>
                          <a:latin typeface="Arial" panose="020B0604020202020204" pitchFamily="34" charset="0"/>
                        </a:rPr>
                        <a:t> X-Ray Counter</a:t>
                      </a:r>
                      <a:endParaRPr lang="id-ID" sz="14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69863" indent="-169863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Accurate reel count tracking system</a:t>
                      </a:r>
                    </a:p>
                    <a:p>
                      <a:pPr marL="169863" indent="-169863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Tracks returned parts per reel from SMT</a:t>
                      </a:r>
                    </a:p>
                    <a:p>
                      <a:pPr marL="169863" indent="-169863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Recreates updates label</a:t>
                      </a:r>
                    </a:p>
                    <a:p>
                      <a:pPr marL="169863" indent="-169863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Implemented in Jacksonville, IL plant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Fully integrated with PLEX</a:t>
                      </a:r>
                    </a:p>
                    <a:p>
                      <a:pPr marL="174625" indent="-174625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Linked to MODI labeling station for real time reel count</a:t>
                      </a:r>
                    </a:p>
                    <a:p>
                      <a:pPr marL="174625" indent="-174625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Inventory accuracy</a:t>
                      </a:r>
                    </a:p>
                    <a:p>
                      <a:pPr marL="174625" indent="-174625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Productivity increase in kitting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rgbClr val="FF0000"/>
                          </a:solidFill>
                        </a:rPr>
                        <a:t>Complet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0527550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7040BE49-A7FA-865E-FE9C-5F75100BED4D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42570" y="2489092"/>
            <a:ext cx="1591607" cy="52840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B81C7C8-10C7-3071-60D4-C3C8F1C3AB93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42570" y="4106767"/>
            <a:ext cx="1512653" cy="529654"/>
          </a:xfrm>
          <a:prstGeom prst="rect">
            <a:avLst/>
          </a:prstGeom>
        </p:spPr>
      </p:pic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9C17A427-92A7-239D-3A74-E091792DD56D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7828" y="5555114"/>
            <a:ext cx="781089" cy="711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422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F81F39-23C9-5527-979F-265A708A2F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830" y="1099647"/>
            <a:ext cx="12596283" cy="442913"/>
          </a:xfrm>
        </p:spPr>
        <p:txBody>
          <a:bodyPr/>
          <a:lstStyle/>
          <a:p>
            <a:r>
              <a: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ey Planned Initiatives: </a:t>
            </a:r>
            <a:r>
              <a:rPr lang="en-US" b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List 2/2)</a:t>
            </a:r>
            <a:endParaRPr lang="en-US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EAD036-9FAC-1CF2-19B4-C14AE7166D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9" name="Table 6">
            <a:extLst>
              <a:ext uri="{FF2B5EF4-FFF2-40B4-BE49-F238E27FC236}">
                <a16:creationId xmlns:a16="http://schemas.microsoft.com/office/drawing/2014/main" id="{2FB4472B-592A-E1E5-1209-0E96E83D7C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0372338"/>
              </p:ext>
            </p:extLst>
          </p:nvPr>
        </p:nvGraphicFramePr>
        <p:xfrm>
          <a:off x="858740" y="1685677"/>
          <a:ext cx="11489635" cy="52487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9916">
                  <a:extLst>
                    <a:ext uri="{9D8B030D-6E8A-4147-A177-3AD203B41FA5}">
                      <a16:colId xmlns:a16="http://schemas.microsoft.com/office/drawing/2014/main" val="1503572541"/>
                    </a:ext>
                  </a:extLst>
                </a:gridCol>
                <a:gridCol w="4466424">
                  <a:extLst>
                    <a:ext uri="{9D8B030D-6E8A-4147-A177-3AD203B41FA5}">
                      <a16:colId xmlns:a16="http://schemas.microsoft.com/office/drawing/2014/main" val="2349680093"/>
                    </a:ext>
                  </a:extLst>
                </a:gridCol>
                <a:gridCol w="3356270">
                  <a:extLst>
                    <a:ext uri="{9D8B030D-6E8A-4147-A177-3AD203B41FA5}">
                      <a16:colId xmlns:a16="http://schemas.microsoft.com/office/drawing/2014/main" val="1722261976"/>
                    </a:ext>
                  </a:extLst>
                </a:gridCol>
                <a:gridCol w="1847025">
                  <a:extLst>
                    <a:ext uri="{9D8B030D-6E8A-4147-A177-3AD203B41FA5}">
                      <a16:colId xmlns:a16="http://schemas.microsoft.com/office/drawing/2014/main" val="1187989353"/>
                    </a:ext>
                  </a:extLst>
                </a:gridCol>
              </a:tblGrid>
              <a:tr h="536114"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Initiative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2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Description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2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Key Benefit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2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Implementation Schedul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28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702558"/>
                  </a:ext>
                </a:extLst>
              </a:tr>
              <a:tr h="1365387"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en-US" sz="1400" b="1" i="0" u="none" strike="noStrike"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en-US" sz="1400" b="1" i="0" u="none" strike="noStrike"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273379"/>
                          </a:solidFill>
                          <a:effectLst/>
                          <a:latin typeface="Arial" panose="020B0604020202020204" pitchFamily="34" charset="0"/>
                        </a:rPr>
                        <a:t>Consolidation</a:t>
                      </a:r>
                    </a:p>
                    <a:p>
                      <a:pPr algn="ctr" fontAlgn="ctr"/>
                      <a:endParaRPr lang="en-US" sz="1400" b="1" i="0" u="none" strike="noStrike"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id-ID" sz="14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3038" indent="-173038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Consolidate facilities into one business unit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Remove duplication of fixed costs and other activities</a:t>
                      </a:r>
                    </a:p>
                    <a:p>
                      <a:pPr marL="174625" indent="-174625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Sharpen focus on customers in the region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rgbClr val="FF0000"/>
                          </a:solidFill>
                        </a:rPr>
                        <a:t>Completed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3784958"/>
                  </a:ext>
                </a:extLst>
              </a:tr>
              <a:tr h="1550856"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en-US" sz="1400" b="1" i="0" u="none" strike="noStrike"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en-US" sz="1400" b="1" i="0" u="none" strike="noStrike"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en-US" sz="1350" b="1" i="0" u="none" strike="noStrike">
                          <a:solidFill>
                            <a:srgbClr val="273379"/>
                          </a:solidFill>
                          <a:effectLst/>
                          <a:latin typeface="Arial" panose="020B0604020202020204" pitchFamily="34" charset="0"/>
                        </a:rPr>
                        <a:t>Operational LEAN (CIM) Activities</a:t>
                      </a:r>
                    </a:p>
                    <a:p>
                      <a:pPr algn="ctr" fontAlgn="ctr"/>
                      <a:endParaRPr lang="id-ID" sz="14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69863" indent="-169863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Implementation of a new SOP and work culture</a:t>
                      </a:r>
                    </a:p>
                    <a:p>
                      <a:pPr marL="169863" indent="-169863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Focused on quality, delivery and personal ownership + accountability</a:t>
                      </a:r>
                    </a:p>
                    <a:p>
                      <a:pPr marL="169863" indent="-169863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Implemented in Jacksonville, IL facility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Focus on reductions of Rework and RMA (process improvements based on root-cause analysis)</a:t>
                      </a:r>
                    </a:p>
                    <a:p>
                      <a:pPr marL="174625" indent="-174625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Scheduling (predictable flow) and capacity increas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On-going, increase through Q2-2025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4360465"/>
                  </a:ext>
                </a:extLst>
              </a:tr>
              <a:tr h="1790175"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en-US" sz="1400" b="1" i="0" u="none" strike="noStrike"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en-US" sz="1400" b="1" i="0" u="none" strike="noStrike"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273379"/>
                          </a:solidFill>
                          <a:effectLst/>
                          <a:latin typeface="Arial" panose="020B0604020202020204" pitchFamily="34" charset="0"/>
                        </a:rPr>
                        <a:t>On-Boarding (NPI) &amp; Partnerships</a:t>
                      </a:r>
                    </a:p>
                    <a:p>
                      <a:pPr algn="ctr" fontAlgn="ctr"/>
                      <a:endParaRPr lang="en-US" sz="1400" b="1" i="0" u="none" strike="noStrike"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en-US" sz="1400" b="1" i="0" u="none" strike="noStrike"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endParaRPr lang="id-ID" sz="14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69863" indent="-169863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On-Board and ramp up new product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-174625">
                        <a:buClr>
                          <a:srgbClr val="003288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Establish long term relationships for future growth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On-going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3673519"/>
                  </a:ext>
                </a:extLst>
              </a:tr>
            </a:tbl>
          </a:graphicData>
        </a:graphic>
      </p:graphicFrame>
      <p:pic>
        <p:nvPicPr>
          <p:cNvPr id="21" name="Picture 20">
            <a:extLst>
              <a:ext uri="{FF2B5EF4-FFF2-40B4-BE49-F238E27FC236}">
                <a16:creationId xmlns:a16="http://schemas.microsoft.com/office/drawing/2014/main" id="{4C6EFB01-63F8-B51A-96FA-2DF4876260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0377" y="3716045"/>
            <a:ext cx="1156646" cy="661306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596E170-C7F6-76BF-24AA-F9F0D19EF9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4547" y="2393140"/>
            <a:ext cx="761108" cy="19788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F20C19EF-3360-5879-E902-B4F54C03E3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871" y="2518913"/>
            <a:ext cx="1275341" cy="435691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BB4A1103-6A75-845F-9B4B-D8DE3CC57D79}"/>
              </a:ext>
            </a:extLst>
          </p:cNvPr>
          <p:cNvSpPr txBox="1"/>
          <p:nvPr/>
        </p:nvSpPr>
        <p:spPr>
          <a:xfrm>
            <a:off x="1965335" y="2299723"/>
            <a:ext cx="251992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900"/>
              <a:t>/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96268A3A-D387-7563-9369-EC2573938B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2488" y="5264188"/>
            <a:ext cx="1214535" cy="708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1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8103E8E-6F4D-A2DE-E22C-8C5059380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633" y="1057354"/>
            <a:ext cx="12596283" cy="442913"/>
          </a:xfrm>
        </p:spPr>
        <p:txBody>
          <a:bodyPr/>
          <a:lstStyle/>
          <a:p>
            <a:r>
              <a:rPr lang="en-US" sz="2000">
                <a:solidFill>
                  <a:srgbClr val="2733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Vision: Customer-Centric Growth, Expanding Our National Reach</a:t>
            </a:r>
            <a:br>
              <a:rPr lang="en-US" sz="2000"/>
            </a:br>
            <a:br>
              <a:rPr lang="en-US" sz="2000"/>
            </a:br>
            <a:endParaRPr lang="en-US" sz="2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505E38-FBDA-1992-DE91-A1489BA007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AF8516C3-CD53-9567-90A1-07EF26434B98}"/>
              </a:ext>
            </a:extLst>
          </p:cNvPr>
          <p:cNvSpPr/>
          <p:nvPr/>
        </p:nvSpPr>
        <p:spPr bwMode="auto">
          <a:xfrm>
            <a:off x="4551778" y="1126121"/>
            <a:ext cx="579085" cy="545560"/>
          </a:xfrm>
          <a:prstGeom prst="flowChartConnector">
            <a:avLst/>
          </a:prstGeom>
          <a:solidFill>
            <a:srgbClr val="1A3E7C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869937">
              <a:defRPr/>
            </a:pPr>
            <a:endParaRPr lang="en-US" sz="1400" b="1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B0EA439-5BD1-A15A-9E33-EACE26E674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4698475" y="1265923"/>
            <a:ext cx="285689" cy="28977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9AAFD111-9DBD-067F-1002-3E0068230D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0648" y="1748392"/>
            <a:ext cx="8219515" cy="5479677"/>
          </a:xfrm>
          <a:prstGeom prst="rect">
            <a:avLst/>
          </a:prstGeom>
        </p:spPr>
      </p:pic>
      <p:sp>
        <p:nvSpPr>
          <p:cNvPr id="7" name="Flowchart: Connector 6">
            <a:extLst>
              <a:ext uri="{FF2B5EF4-FFF2-40B4-BE49-F238E27FC236}">
                <a16:creationId xmlns:a16="http://schemas.microsoft.com/office/drawing/2014/main" id="{0DBAFBDC-85C7-47BB-4370-6B0230BFF0F3}"/>
              </a:ext>
            </a:extLst>
          </p:cNvPr>
          <p:cNvSpPr/>
          <p:nvPr/>
        </p:nvSpPr>
        <p:spPr bwMode="auto">
          <a:xfrm>
            <a:off x="790686" y="1115139"/>
            <a:ext cx="579085" cy="548443"/>
          </a:xfrm>
          <a:prstGeom prst="flowChartConnector">
            <a:avLst/>
          </a:prstGeom>
          <a:solidFill>
            <a:srgbClr val="E45507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869937">
              <a:defRPr/>
            </a:pPr>
            <a:endParaRPr lang="en-US" sz="14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C2D550-2BE8-ADDE-5621-9A84ADBEAC6B}"/>
              </a:ext>
            </a:extLst>
          </p:cNvPr>
          <p:cNvSpPr txBox="1"/>
          <p:nvPr/>
        </p:nvSpPr>
        <p:spPr>
          <a:xfrm>
            <a:off x="1458865" y="1223482"/>
            <a:ext cx="23968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87">
              <a:defRPr/>
            </a:pPr>
            <a:r>
              <a:rPr lang="en-US" sz="1400" b="1" i="1"/>
              <a:t> </a:t>
            </a:r>
            <a:r>
              <a:rPr lang="en-US" b="1">
                <a:solidFill>
                  <a:srgbClr val="2733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pitchFamily="2" charset="0"/>
              </a:rPr>
              <a:t>Current Locations</a:t>
            </a:r>
            <a:endParaRPr lang="en-US" b="1">
              <a:solidFill>
                <a:srgbClr val="27337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11B72AA1-D571-99F4-DBAA-5DB7F2BF6F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932048" y="1259196"/>
            <a:ext cx="285689" cy="289770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C86EB2E6-33DD-BB90-7191-B8E6B027E273}"/>
              </a:ext>
            </a:extLst>
          </p:cNvPr>
          <p:cNvSpPr txBox="1"/>
          <p:nvPr/>
        </p:nvSpPr>
        <p:spPr>
          <a:xfrm>
            <a:off x="5166170" y="1230915"/>
            <a:ext cx="69710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87">
              <a:defRPr/>
            </a:pPr>
            <a:r>
              <a:rPr lang="en-US" sz="1800" b="1">
                <a:solidFill>
                  <a:srgbClr val="2733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pitchFamily="2" charset="0"/>
              </a:rPr>
              <a:t>Future Locations</a:t>
            </a:r>
            <a:endParaRPr lang="en-US" sz="1800" b="1">
              <a:solidFill>
                <a:srgbClr val="27337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4" name="Flowchart: Connector 43">
            <a:extLst>
              <a:ext uri="{FF2B5EF4-FFF2-40B4-BE49-F238E27FC236}">
                <a16:creationId xmlns:a16="http://schemas.microsoft.com/office/drawing/2014/main" id="{F402F56A-DEA4-06D0-3101-C334E633B449}"/>
              </a:ext>
            </a:extLst>
          </p:cNvPr>
          <p:cNvSpPr/>
          <p:nvPr/>
        </p:nvSpPr>
        <p:spPr bwMode="auto">
          <a:xfrm>
            <a:off x="1533790" y="3226340"/>
            <a:ext cx="579085" cy="545560"/>
          </a:xfrm>
          <a:prstGeom prst="flowChartConnector">
            <a:avLst/>
          </a:prstGeom>
          <a:solidFill>
            <a:srgbClr val="1A3E7C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869937">
              <a:defRPr/>
            </a:pPr>
            <a:endParaRPr lang="en-US" sz="1400" b="1"/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9E07E17D-4575-344F-BA0E-8BFFA08293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1680487" y="3366142"/>
            <a:ext cx="285689" cy="289770"/>
          </a:xfrm>
          <a:prstGeom prst="rect">
            <a:avLst/>
          </a:prstGeom>
        </p:spPr>
      </p:pic>
      <p:sp>
        <p:nvSpPr>
          <p:cNvPr id="52" name="Flowchart: Connector 51">
            <a:extLst>
              <a:ext uri="{FF2B5EF4-FFF2-40B4-BE49-F238E27FC236}">
                <a16:creationId xmlns:a16="http://schemas.microsoft.com/office/drawing/2014/main" id="{3ED7AAD5-1F0E-3C5D-EC1E-65F9609C02EE}"/>
              </a:ext>
            </a:extLst>
          </p:cNvPr>
          <p:cNvSpPr/>
          <p:nvPr/>
        </p:nvSpPr>
        <p:spPr bwMode="auto">
          <a:xfrm>
            <a:off x="1805734" y="4809466"/>
            <a:ext cx="579085" cy="545560"/>
          </a:xfrm>
          <a:prstGeom prst="flowChartConnector">
            <a:avLst/>
          </a:prstGeom>
          <a:solidFill>
            <a:srgbClr val="1A3E7C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869937">
              <a:defRPr/>
            </a:pPr>
            <a:endParaRPr lang="en-US" sz="1400" b="1"/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6C009DFA-73BA-9D2F-A50B-E9044F69DA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1952431" y="4949268"/>
            <a:ext cx="285689" cy="289770"/>
          </a:xfrm>
          <a:prstGeom prst="rect">
            <a:avLst/>
          </a:prstGeom>
        </p:spPr>
      </p:pic>
      <p:sp>
        <p:nvSpPr>
          <p:cNvPr id="54" name="Flowchart: Connector 53">
            <a:extLst>
              <a:ext uri="{FF2B5EF4-FFF2-40B4-BE49-F238E27FC236}">
                <a16:creationId xmlns:a16="http://schemas.microsoft.com/office/drawing/2014/main" id="{711DF29D-F9B6-46AE-BC17-C09E79C95FE7}"/>
              </a:ext>
            </a:extLst>
          </p:cNvPr>
          <p:cNvSpPr/>
          <p:nvPr/>
        </p:nvSpPr>
        <p:spPr bwMode="auto">
          <a:xfrm>
            <a:off x="2762865" y="6260267"/>
            <a:ext cx="593791" cy="574609"/>
          </a:xfrm>
          <a:prstGeom prst="flowChartConnector">
            <a:avLst/>
          </a:prstGeom>
          <a:solidFill>
            <a:srgbClr val="1A3E7C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869937">
              <a:defRPr/>
            </a:pPr>
            <a:endParaRPr lang="en-US" sz="1400" b="1"/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058BDC11-9F7B-97E6-C173-8E1AF7C8EE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2916915" y="6337657"/>
            <a:ext cx="285689" cy="289770"/>
          </a:xfrm>
          <a:prstGeom prst="rect">
            <a:avLst/>
          </a:prstGeom>
        </p:spPr>
      </p:pic>
      <p:sp>
        <p:nvSpPr>
          <p:cNvPr id="56" name="Flowchart: Connector 55">
            <a:extLst>
              <a:ext uri="{FF2B5EF4-FFF2-40B4-BE49-F238E27FC236}">
                <a16:creationId xmlns:a16="http://schemas.microsoft.com/office/drawing/2014/main" id="{6D7F4A66-9AF5-8C08-0503-00343B06DA75}"/>
              </a:ext>
            </a:extLst>
          </p:cNvPr>
          <p:cNvSpPr/>
          <p:nvPr/>
        </p:nvSpPr>
        <p:spPr bwMode="auto">
          <a:xfrm>
            <a:off x="3708980" y="5269838"/>
            <a:ext cx="579085" cy="545560"/>
          </a:xfrm>
          <a:prstGeom prst="flowChartConnector">
            <a:avLst/>
          </a:prstGeom>
          <a:solidFill>
            <a:srgbClr val="1A3E7C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869937">
              <a:defRPr/>
            </a:pPr>
            <a:endParaRPr lang="en-US" sz="1400" b="1"/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912BFD30-8454-5BD2-623E-5D119B89B2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3855677" y="5409640"/>
            <a:ext cx="285689" cy="289770"/>
          </a:xfrm>
          <a:prstGeom prst="rect">
            <a:avLst/>
          </a:prstGeom>
        </p:spPr>
      </p:pic>
      <p:sp>
        <p:nvSpPr>
          <p:cNvPr id="58" name="Flowchart: Connector 57">
            <a:extLst>
              <a:ext uri="{FF2B5EF4-FFF2-40B4-BE49-F238E27FC236}">
                <a16:creationId xmlns:a16="http://schemas.microsoft.com/office/drawing/2014/main" id="{E3AF269F-F60F-5692-2093-C6B200E51748}"/>
              </a:ext>
            </a:extLst>
          </p:cNvPr>
          <p:cNvSpPr/>
          <p:nvPr/>
        </p:nvSpPr>
        <p:spPr bwMode="auto">
          <a:xfrm>
            <a:off x="3566134" y="3206730"/>
            <a:ext cx="579085" cy="545560"/>
          </a:xfrm>
          <a:prstGeom prst="flowChartConnector">
            <a:avLst/>
          </a:prstGeom>
          <a:solidFill>
            <a:srgbClr val="1A3E7C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869937">
              <a:defRPr/>
            </a:pPr>
            <a:endParaRPr lang="en-US" sz="1400" b="1"/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E5A99DFD-704C-A9D4-9D26-A8C7F7CA39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3712831" y="3346532"/>
            <a:ext cx="285689" cy="289770"/>
          </a:xfrm>
          <a:prstGeom prst="rect">
            <a:avLst/>
          </a:prstGeom>
        </p:spPr>
      </p:pic>
      <p:sp>
        <p:nvSpPr>
          <p:cNvPr id="60" name="Flowchart: Connector 59">
            <a:extLst>
              <a:ext uri="{FF2B5EF4-FFF2-40B4-BE49-F238E27FC236}">
                <a16:creationId xmlns:a16="http://schemas.microsoft.com/office/drawing/2014/main" id="{A711C77F-5EFA-F183-84B8-7E335EDF14CA}"/>
              </a:ext>
            </a:extLst>
          </p:cNvPr>
          <p:cNvSpPr/>
          <p:nvPr/>
        </p:nvSpPr>
        <p:spPr bwMode="auto">
          <a:xfrm>
            <a:off x="5198735" y="3981143"/>
            <a:ext cx="579085" cy="548443"/>
          </a:xfrm>
          <a:prstGeom prst="flowChartConnector">
            <a:avLst/>
          </a:prstGeom>
          <a:solidFill>
            <a:srgbClr val="E45507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869937">
              <a:defRPr/>
            </a:pPr>
            <a:endParaRPr lang="en-US" sz="1400" b="1"/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FFED6558-B204-0DD3-83B4-6D1DB7710A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5361327" y="4097345"/>
            <a:ext cx="285689" cy="289770"/>
          </a:xfrm>
          <a:prstGeom prst="rect">
            <a:avLst/>
          </a:prstGeom>
        </p:spPr>
      </p:pic>
      <p:sp>
        <p:nvSpPr>
          <p:cNvPr id="62" name="Flowchart: Connector 61">
            <a:extLst>
              <a:ext uri="{FF2B5EF4-FFF2-40B4-BE49-F238E27FC236}">
                <a16:creationId xmlns:a16="http://schemas.microsoft.com/office/drawing/2014/main" id="{93CCDF1C-ED98-5999-0D8E-526E7263A82C}"/>
              </a:ext>
            </a:extLst>
          </p:cNvPr>
          <p:cNvSpPr/>
          <p:nvPr/>
        </p:nvSpPr>
        <p:spPr bwMode="auto">
          <a:xfrm>
            <a:off x="6961620" y="3186515"/>
            <a:ext cx="579085" cy="548443"/>
          </a:xfrm>
          <a:prstGeom prst="flowChartConnector">
            <a:avLst/>
          </a:prstGeom>
          <a:solidFill>
            <a:srgbClr val="E45507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869937">
              <a:defRPr/>
            </a:pPr>
            <a:endParaRPr lang="en-US" sz="1400" b="1"/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F04AF657-E388-E5FC-B446-F2F61B240B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7102982" y="3330572"/>
            <a:ext cx="285689" cy="289770"/>
          </a:xfrm>
          <a:prstGeom prst="rect">
            <a:avLst/>
          </a:prstGeom>
        </p:spPr>
      </p:pic>
      <p:sp>
        <p:nvSpPr>
          <p:cNvPr id="64" name="Flowchart: Connector 63">
            <a:extLst>
              <a:ext uri="{FF2B5EF4-FFF2-40B4-BE49-F238E27FC236}">
                <a16:creationId xmlns:a16="http://schemas.microsoft.com/office/drawing/2014/main" id="{25254BAC-3FE2-EA82-98A0-2EC43EF6D521}"/>
              </a:ext>
            </a:extLst>
          </p:cNvPr>
          <p:cNvSpPr/>
          <p:nvPr/>
        </p:nvSpPr>
        <p:spPr bwMode="auto">
          <a:xfrm>
            <a:off x="7388671" y="2800763"/>
            <a:ext cx="579085" cy="548443"/>
          </a:xfrm>
          <a:prstGeom prst="flowChartConnector">
            <a:avLst/>
          </a:prstGeom>
          <a:solidFill>
            <a:srgbClr val="E45507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869937">
              <a:defRPr/>
            </a:pPr>
            <a:endParaRPr lang="en-US" sz="1400" b="1"/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4AFCFE95-519B-C5A0-CD38-A4916A7FD9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7530033" y="2944820"/>
            <a:ext cx="285689" cy="289770"/>
          </a:xfrm>
          <a:prstGeom prst="rect">
            <a:avLst/>
          </a:prstGeom>
        </p:spPr>
      </p:pic>
      <p:sp>
        <p:nvSpPr>
          <p:cNvPr id="66" name="Flowchart: Connector 65">
            <a:extLst>
              <a:ext uri="{FF2B5EF4-FFF2-40B4-BE49-F238E27FC236}">
                <a16:creationId xmlns:a16="http://schemas.microsoft.com/office/drawing/2014/main" id="{9957367C-5D2A-0477-FE51-0E92F11A645A}"/>
              </a:ext>
            </a:extLst>
          </p:cNvPr>
          <p:cNvSpPr/>
          <p:nvPr/>
        </p:nvSpPr>
        <p:spPr bwMode="auto">
          <a:xfrm>
            <a:off x="6672078" y="5559608"/>
            <a:ext cx="579085" cy="545560"/>
          </a:xfrm>
          <a:prstGeom prst="flowChartConnector">
            <a:avLst/>
          </a:prstGeom>
          <a:solidFill>
            <a:srgbClr val="1A3E7C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869937">
              <a:defRPr/>
            </a:pPr>
            <a:endParaRPr lang="en-US" sz="1400" b="1"/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0704EC7F-C700-B849-B32D-15A2792CED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6818775" y="5699410"/>
            <a:ext cx="285689" cy="289770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E167C4BE-E705-382E-4C77-D97C43E6B28A}"/>
              </a:ext>
            </a:extLst>
          </p:cNvPr>
          <p:cNvSpPr txBox="1"/>
          <p:nvPr/>
        </p:nvSpPr>
        <p:spPr>
          <a:xfrm>
            <a:off x="9232257" y="1408148"/>
            <a:ext cx="3860578" cy="5378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87">
              <a:spcBef>
                <a:spcPts val="300"/>
              </a:spcBef>
              <a:spcAft>
                <a:spcPts val="400"/>
              </a:spcAft>
              <a:defRPr/>
            </a:pPr>
            <a:r>
              <a:rPr lang="en-US" sz="2000" b="1">
                <a:solidFill>
                  <a:srgbClr val="2733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pitchFamily="2" charset="0"/>
                <a:ea typeface="Arial"/>
                <a:cs typeface="Arial"/>
                <a:sym typeface="Arial"/>
              </a:rPr>
              <a:t>Industries Served</a:t>
            </a:r>
            <a:endParaRPr lang="en-US" sz="2000">
              <a:solidFill>
                <a:srgbClr val="27337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tserrat" pitchFamily="2" charset="0"/>
            </a:endParaRPr>
          </a:p>
          <a:p>
            <a:pPr marL="285746" indent="-285746" defTabSz="914387">
              <a:spcBef>
                <a:spcPts val="300"/>
              </a:spcBef>
              <a:spcAft>
                <a:spcPts val="400"/>
              </a:spcAft>
              <a:buClr>
                <a:srgbClr val="003399"/>
              </a:buClr>
              <a:buSzPts val="1400"/>
              <a:buFont typeface="Wingdings" panose="05000000000000000000" pitchFamily="2" charset="2"/>
              <a:buChar char="ü"/>
              <a:defRPr/>
            </a:pPr>
            <a:r>
              <a:rPr lang="en-US" b="1">
                <a:latin typeface="Montserrat" pitchFamily="2" charset="0"/>
                <a:ea typeface="Arial"/>
                <a:cs typeface="Arial"/>
                <a:sym typeface="Arial"/>
              </a:rPr>
              <a:t>Medical &amp; Life Sciences</a:t>
            </a:r>
          </a:p>
          <a:p>
            <a:pPr marL="285746" indent="-285746" defTabSz="914387">
              <a:spcBef>
                <a:spcPts val="300"/>
              </a:spcBef>
              <a:spcAft>
                <a:spcPts val="400"/>
              </a:spcAft>
              <a:buClr>
                <a:srgbClr val="003399"/>
              </a:buClr>
              <a:buSzPts val="1400"/>
              <a:buFont typeface="Wingdings" panose="05000000000000000000" pitchFamily="2" charset="2"/>
              <a:buChar char="ü"/>
              <a:defRPr/>
            </a:pPr>
            <a:r>
              <a:rPr lang="en-US" b="1">
                <a:latin typeface="Montserrat" pitchFamily="2" charset="0"/>
              </a:rPr>
              <a:t>Industrial &amp; Commercial</a:t>
            </a:r>
          </a:p>
          <a:p>
            <a:pPr marL="285746" indent="-285746" defTabSz="914387">
              <a:spcBef>
                <a:spcPts val="300"/>
              </a:spcBef>
              <a:spcAft>
                <a:spcPts val="400"/>
              </a:spcAft>
              <a:buClr>
                <a:srgbClr val="003399"/>
              </a:buClr>
              <a:buSzPts val="1400"/>
              <a:buFont typeface="Wingdings" panose="05000000000000000000" pitchFamily="2" charset="2"/>
              <a:buChar char="ü"/>
              <a:defRPr/>
            </a:pPr>
            <a:r>
              <a:rPr lang="en-US" b="1">
                <a:latin typeface="Montserrat" pitchFamily="2" charset="0"/>
              </a:rPr>
              <a:t>Aerospace &amp; Defense</a:t>
            </a:r>
          </a:p>
          <a:p>
            <a:pPr marL="285746" indent="-285746" defTabSz="914387">
              <a:spcBef>
                <a:spcPts val="300"/>
              </a:spcBef>
              <a:spcAft>
                <a:spcPts val="400"/>
              </a:spcAft>
              <a:buClr>
                <a:srgbClr val="003399"/>
              </a:buClr>
              <a:buSzPts val="1400"/>
              <a:buFont typeface="Wingdings" panose="05000000000000000000" pitchFamily="2" charset="2"/>
              <a:buChar char="ü"/>
              <a:defRPr/>
            </a:pPr>
            <a:r>
              <a:rPr lang="en-US" b="1">
                <a:latin typeface="Montserrat" pitchFamily="2" charset="0"/>
              </a:rPr>
              <a:t>Ag Tech</a:t>
            </a:r>
          </a:p>
          <a:p>
            <a:pPr defTabSz="914387">
              <a:spcBef>
                <a:spcPts val="300"/>
              </a:spcBef>
              <a:spcAft>
                <a:spcPts val="400"/>
              </a:spcAft>
              <a:buClr>
                <a:srgbClr val="003399"/>
              </a:buClr>
              <a:buSzPts val="1400"/>
              <a:defRPr/>
            </a:pPr>
            <a:endParaRPr lang="en-US" b="1">
              <a:latin typeface="Montserrat" pitchFamily="2" charset="0"/>
            </a:endParaRPr>
          </a:p>
          <a:p>
            <a:pPr defTabSz="914387">
              <a:spcAft>
                <a:spcPts val="400"/>
              </a:spcAft>
              <a:defRPr/>
            </a:pPr>
            <a:r>
              <a:rPr lang="en-US" sz="2000" b="1">
                <a:solidFill>
                  <a:srgbClr val="2733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pitchFamily="2" charset="0"/>
                <a:ea typeface="Arial"/>
                <a:cs typeface="Arial"/>
                <a:sym typeface="Arial"/>
              </a:rPr>
              <a:t>Comprehensive Range of Services</a:t>
            </a:r>
          </a:p>
          <a:p>
            <a:pPr marL="285746" indent="-285746" defTabSz="914387">
              <a:spcBef>
                <a:spcPts val="300"/>
              </a:spcBef>
              <a:spcAft>
                <a:spcPts val="400"/>
              </a:spcAft>
              <a:buClr>
                <a:srgbClr val="003399"/>
              </a:buClr>
              <a:buSzPts val="1400"/>
              <a:buFont typeface="Wingdings" panose="05000000000000000000" pitchFamily="2" charset="2"/>
              <a:buChar char="ü"/>
              <a:defRPr/>
            </a:pPr>
            <a:r>
              <a:rPr lang="en-US" b="1">
                <a:latin typeface="Montserrat" pitchFamily="2" charset="0"/>
                <a:ea typeface="Arial"/>
                <a:cs typeface="Arial"/>
                <a:sym typeface="Arial"/>
              </a:rPr>
              <a:t>Complex PCB Assembly</a:t>
            </a:r>
          </a:p>
          <a:p>
            <a:pPr marL="285746" indent="-285746" defTabSz="914387">
              <a:spcBef>
                <a:spcPts val="300"/>
              </a:spcBef>
              <a:spcAft>
                <a:spcPts val="400"/>
              </a:spcAft>
              <a:buClr>
                <a:srgbClr val="003399"/>
              </a:buClr>
              <a:buSzPts val="1400"/>
              <a:buFont typeface="Wingdings" panose="05000000000000000000" pitchFamily="2" charset="2"/>
              <a:buChar char="ü"/>
              <a:defRPr/>
            </a:pPr>
            <a:r>
              <a:rPr lang="en-US" b="1">
                <a:latin typeface="Montserrat" pitchFamily="2" charset="0"/>
                <a:ea typeface="Arial"/>
                <a:cs typeface="Arial"/>
                <a:sym typeface="Arial"/>
              </a:rPr>
              <a:t>Box Build</a:t>
            </a:r>
          </a:p>
          <a:p>
            <a:pPr marL="285746" indent="-285746" defTabSz="914387">
              <a:spcBef>
                <a:spcPts val="300"/>
              </a:spcBef>
              <a:spcAft>
                <a:spcPts val="400"/>
              </a:spcAft>
              <a:buClr>
                <a:srgbClr val="003399"/>
              </a:buClr>
              <a:buSzPts val="1400"/>
              <a:buFont typeface="Wingdings" panose="05000000000000000000" pitchFamily="2" charset="2"/>
              <a:buChar char="ü"/>
              <a:defRPr/>
            </a:pPr>
            <a:r>
              <a:rPr lang="en-US" b="1">
                <a:latin typeface="Montserrat" pitchFamily="2" charset="0"/>
                <a:ea typeface="Arial"/>
                <a:cs typeface="Arial"/>
                <a:sym typeface="Arial"/>
              </a:rPr>
              <a:t>Quick Turn PCBA</a:t>
            </a:r>
          </a:p>
          <a:p>
            <a:pPr marL="285746" indent="-285746" defTabSz="914387">
              <a:spcBef>
                <a:spcPts val="300"/>
              </a:spcBef>
              <a:spcAft>
                <a:spcPts val="400"/>
              </a:spcAft>
              <a:buClr>
                <a:srgbClr val="003399"/>
              </a:buClr>
              <a:buSzPts val="1400"/>
              <a:buFont typeface="Wingdings" panose="05000000000000000000" pitchFamily="2" charset="2"/>
              <a:buChar char="ü"/>
              <a:defRPr/>
            </a:pPr>
            <a:r>
              <a:rPr lang="en-US" b="1">
                <a:latin typeface="Montserrat" pitchFamily="2" charset="0"/>
                <a:ea typeface="Arial"/>
                <a:cs typeface="Arial"/>
                <a:sym typeface="Arial"/>
              </a:rPr>
              <a:t>Sophisticated Testing and  Quality Inspection</a:t>
            </a:r>
          </a:p>
          <a:p>
            <a:pPr marL="285746" indent="-285746" defTabSz="914387">
              <a:spcBef>
                <a:spcPts val="300"/>
              </a:spcBef>
              <a:spcAft>
                <a:spcPts val="400"/>
              </a:spcAft>
              <a:buClr>
                <a:srgbClr val="003399"/>
              </a:buClr>
              <a:buSzPts val="1400"/>
              <a:buFont typeface="Wingdings" panose="05000000000000000000" pitchFamily="2" charset="2"/>
              <a:buChar char="ü"/>
              <a:defRPr/>
            </a:pPr>
            <a:r>
              <a:rPr lang="en-US" b="1">
                <a:latin typeface="Montserrat" pitchFamily="2" charset="0"/>
                <a:cs typeface="Arial"/>
                <a:sym typeface="Arial"/>
              </a:rPr>
              <a:t>Coating / Encapsulation</a:t>
            </a:r>
          </a:p>
          <a:p>
            <a:pPr marL="285746" indent="-285746" defTabSz="914387">
              <a:spcBef>
                <a:spcPts val="300"/>
              </a:spcBef>
              <a:spcAft>
                <a:spcPts val="400"/>
              </a:spcAft>
              <a:buClr>
                <a:srgbClr val="003399"/>
              </a:buClr>
              <a:buSzPts val="1400"/>
              <a:buFont typeface="Wingdings" panose="05000000000000000000" pitchFamily="2" charset="2"/>
              <a:buChar char="ü"/>
              <a:defRPr/>
            </a:pPr>
            <a:r>
              <a:rPr lang="en-US" b="1">
                <a:latin typeface="Montserrat" pitchFamily="2" charset="0"/>
                <a:cs typeface="Arial"/>
                <a:sym typeface="Arial"/>
              </a:rPr>
              <a:t>Injection Molding</a:t>
            </a:r>
            <a:endParaRPr lang="en-US" b="1">
              <a:latin typeface="Montserrat" pitchFamily="2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03D5FA6-CDD6-03F4-B02B-C4765B9E8F27}"/>
              </a:ext>
            </a:extLst>
          </p:cNvPr>
          <p:cNvSpPr txBox="1"/>
          <p:nvPr/>
        </p:nvSpPr>
        <p:spPr>
          <a:xfrm>
            <a:off x="2792897" y="6597095"/>
            <a:ext cx="6274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>
                <a:solidFill>
                  <a:schemeClr val="bg1"/>
                </a:solidFill>
              </a:rPr>
              <a:t>Mexico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43E67B2-27CD-719B-BC06-DE47A8F1E67B}"/>
              </a:ext>
            </a:extLst>
          </p:cNvPr>
          <p:cNvSpPr txBox="1"/>
          <p:nvPr/>
        </p:nvSpPr>
        <p:spPr>
          <a:xfrm>
            <a:off x="1533790" y="240937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71" name="Flowchart: Connector 70">
            <a:extLst>
              <a:ext uri="{FF2B5EF4-FFF2-40B4-BE49-F238E27FC236}">
                <a16:creationId xmlns:a16="http://schemas.microsoft.com/office/drawing/2014/main" id="{04E4E334-3F14-F2CB-8818-7D05DDDCD73D}"/>
              </a:ext>
            </a:extLst>
          </p:cNvPr>
          <p:cNvSpPr/>
          <p:nvPr/>
        </p:nvSpPr>
        <p:spPr bwMode="auto">
          <a:xfrm>
            <a:off x="723016" y="1956902"/>
            <a:ext cx="1389859" cy="340472"/>
          </a:xfrm>
          <a:prstGeom prst="flowChartConnector">
            <a:avLst/>
          </a:prstGeom>
          <a:solidFill>
            <a:srgbClr val="1A3E7C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869937">
              <a:defRPr/>
            </a:pPr>
            <a:r>
              <a:rPr lang="en-US" sz="1400" b="1">
                <a:solidFill>
                  <a:schemeClr val="bg1"/>
                </a:solidFill>
                <a:latin typeface="Montserrat" pitchFamily="2" charset="0"/>
              </a:rPr>
              <a:t> </a:t>
            </a:r>
            <a:r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pitchFamily="2" charset="0"/>
              </a:rPr>
              <a:t>WEST</a:t>
            </a:r>
          </a:p>
        </p:txBody>
      </p:sp>
      <p:sp>
        <p:nvSpPr>
          <p:cNvPr id="72" name="Flowchart: Connector 71">
            <a:extLst>
              <a:ext uri="{FF2B5EF4-FFF2-40B4-BE49-F238E27FC236}">
                <a16:creationId xmlns:a16="http://schemas.microsoft.com/office/drawing/2014/main" id="{52CB3498-85D3-1D06-B37E-DD6D5B501406}"/>
              </a:ext>
            </a:extLst>
          </p:cNvPr>
          <p:cNvSpPr/>
          <p:nvPr/>
        </p:nvSpPr>
        <p:spPr bwMode="auto">
          <a:xfrm>
            <a:off x="3430424" y="1956902"/>
            <a:ext cx="1421883" cy="340472"/>
          </a:xfrm>
          <a:prstGeom prst="flowChartConnector">
            <a:avLst/>
          </a:prstGeom>
          <a:solidFill>
            <a:srgbClr val="1A3E7C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869937">
              <a:defRPr/>
            </a:pPr>
            <a:r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pitchFamily="2" charset="0"/>
              </a:rPr>
              <a:t>Central</a:t>
            </a:r>
            <a:endParaRPr lang="en-US" sz="1600" b="1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3" name="Flowchart: Connector 72">
            <a:extLst>
              <a:ext uri="{FF2B5EF4-FFF2-40B4-BE49-F238E27FC236}">
                <a16:creationId xmlns:a16="http://schemas.microsoft.com/office/drawing/2014/main" id="{3D96221D-0967-0DA6-7A3F-86A9380A2DB6}"/>
              </a:ext>
            </a:extLst>
          </p:cNvPr>
          <p:cNvSpPr/>
          <p:nvPr/>
        </p:nvSpPr>
        <p:spPr bwMode="auto">
          <a:xfrm>
            <a:off x="6428369" y="1962500"/>
            <a:ext cx="1315890" cy="340472"/>
          </a:xfrm>
          <a:prstGeom prst="flowChartConnector">
            <a:avLst/>
          </a:prstGeom>
          <a:solidFill>
            <a:srgbClr val="1A3E7C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869937">
              <a:defRPr/>
            </a:pPr>
            <a:r>
              <a:rPr lang="en-US" sz="1400" b="1">
                <a:solidFill>
                  <a:schemeClr val="bg1"/>
                </a:solidFill>
                <a:latin typeface="Montserrat" pitchFamily="2" charset="0"/>
              </a:rPr>
              <a:t>  </a:t>
            </a:r>
            <a:r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pitchFamily="2" charset="0"/>
              </a:rPr>
              <a:t>EAST</a:t>
            </a:r>
            <a:endParaRPr lang="en-US" sz="1600" b="1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34C6B80D-974D-FBFB-64AF-92EB0A274F7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4344" y="35061"/>
            <a:ext cx="3526852" cy="545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535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_FLYSHEET_STYLE" val="1"/>
  <p:tag name="THINKCELLPRESENTATIONDONOTDELETE" val="&lt;?xml version=&quot;1.0&quot; encoding=&quot;UTF-16&quot; standalone=&quot;yes&quot;?&gt;&lt;root reqver=&quot;27037&quot;&gt;&lt;version val=&quot;3305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m/%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m/%y&lt;/m_strFormatTime&gt;&lt;m_yearfmt&gt;&lt;begin val=&quot;4&quot;/&gt;&lt;end val=&quot;4&quot;/&gt;&lt;/m_yearfmt&gt;&lt;/m_precDefaultMonth&gt;&lt;m_precDefaultQuarter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9&quot;&gt;&lt;elem m_fUsage=&quot;5.81232075450390084370E+00&quot;&gt;&lt;m_msothmcolidx val=&quot;0&quot;/&gt;&lt;m_rgb r=&quot;87&quot; g=&quot;23&quot; b=&quot;1D&quot;/&gt;&lt;/elem&gt;&lt;elem m_fUsage=&quot;1.00000000000000000000E+00&quot;&gt;&lt;m_msothmcolidx val=&quot;0&quot;/&gt;&lt;m_rgb r=&quot;B6&quot; g=&quot;27&quot; b=&quot;31&quot;/&gt;&lt;/elem&gt;&lt;elem m_fUsage=&quot;9.00000000000000022204E-01&quot;&gt;&lt;m_msothmcolidx val=&quot;0&quot;/&gt;&lt;m_rgb r=&quot;00&quot; g=&quot;90&quot; b=&quot;69&quot;/&gt;&lt;/elem&gt;&lt;elem m_fUsage=&quot;8.44882629529149387082E-01&quot;&gt;&lt;m_msothmcolidx val=&quot;0&quot;/&gt;&lt;m_rgb r=&quot;00&quot; g=&quot;20&quot; b=&quot;60&quot;/&gt;&lt;/elem&gt;&lt;elem m_fUsage=&quot;6.62787156581722491921E-01&quot;&gt;&lt;m_msothmcolidx val=&quot;0&quot;/&gt;&lt;m_rgb r=&quot;C0&quot; g=&quot;00&quot; b=&quot;00&quot;/&gt;&lt;/elem&gt;&lt;elem m_fUsage=&quot;1.73237214214993828776E-01&quot;&gt;&lt;m_msothmcolidx val=&quot;0&quot;/&gt;&lt;m_rgb r=&quot;D8&quot; g=&quot;AF&quot; b=&quot;4A&quot;/&gt;&lt;/elem&gt;&lt;elem m_fUsage=&quot;1.68677941563031785766E-01&quot;&gt;&lt;m_msothmcolidx val=&quot;0&quot;/&gt;&lt;m_rgb r=&quot;0A&quot; g=&quot;BC&quot; b=&quot;17&quot;/&gt;&lt;/elem&gt;&lt;elem m_fUsage=&quot;5.23347633027360994995E-02&quot;&gt;&lt;m_msothmcolidx val=&quot;0&quot;/&gt;&lt;m_rgb r=&quot;00&quot; g=&quot;20&quot; b=&quot;99&quot;/&gt;&lt;/elem&gt;&lt;elem m_fUsage=&quot;4.23911582752162438559E-02&quot;&gt;&lt;m_msothmcolidx val=&quot;0&quot;/&gt;&lt;m_rgb r=&quot;2D&quot; g=&quot;F4&quot; b=&quot;3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x8q.FITRq_o.kF.ho3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VjJqmDQ0ix3xBTB5um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VjJqmDQ0ix3xBTB5um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VjJqmDQ0ix3xBTB5umo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VjJqmDQ0ix3xBTB5um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VjJqmDQ0ix3xBTB5um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VjJqmDQ0ix3xBTB5um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VjJqmDQ0ix3xBTB5um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VjJqmDQ0ix3xBTB5um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rjzT9aS_qkE6.ikMSU9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x8q.FITRq_o.kF.ho3j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VjJqmDQ0ix3xBTB5um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rjzT9aS_qkE6.ikMSU9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F9seaoSbakLC_zW7_cU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y5WNAyTQqdkgbONBZFS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x8q.FITRq_o.kF.ho3j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VjJqmDQ0ix3xBTB5umo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VjJqmDQ0ix3xBTB5umo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VjJqmDQ0ix3xBTB5umo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VjJqmDQ0ix3xBTB5umo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VjJqmDQ0ix3xBTB5umo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VjJqmDQ0ix3xBTB5um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F9seaoSbakLC_zW7_cU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VjJqmDQ0ix3xBTB5um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MuQEOY20qVGxu1NPVQy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MuQEOY20qVGxu1NPVQ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MuQEOY20qVGxu1NPVQy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MuQEOY20qVGxu1NPVQy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MuQEOY20qVGxu1NPVQy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MuQEOY20qVGxu1NPVQ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MuQEOY20qVGxu1NPVQy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MuQEOY20qVGxu1NPVQ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yGNA80d068fQrXSVxwk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1T0WJJJUm.Q5tYgtCV3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yGNA80d068fQrXSVxwk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1T0WJJJUm.Q5tYgtCV3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yGNA80d068fQrXSVxwk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1T0WJJJUm.Q5tYgtCV3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y5WNAyTQqdkgbONBZFSA"/>
</p:tagLst>
</file>

<file path=ppt/theme/theme1.xml><?xml version="1.0" encoding="utf-8"?>
<a:theme xmlns:a="http://schemas.openxmlformats.org/drawingml/2006/main" name="FMM Master">
  <a:themeElements>
    <a:clrScheme name="Custom 3">
      <a:dk1>
        <a:srgbClr val="000000"/>
      </a:dk1>
      <a:lt1>
        <a:srgbClr val="FFFFFF"/>
      </a:lt1>
      <a:dk2>
        <a:srgbClr val="000000"/>
      </a:dk2>
      <a:lt2>
        <a:srgbClr val="E7DFBB"/>
      </a:lt2>
      <a:accent1>
        <a:srgbClr val="98B0A4"/>
      </a:accent1>
      <a:accent2>
        <a:srgbClr val="D8AF4A"/>
      </a:accent2>
      <a:accent3>
        <a:srgbClr val="9EA8C6"/>
      </a:accent3>
      <a:accent4>
        <a:srgbClr val="4E786C"/>
      </a:accent4>
      <a:accent5>
        <a:srgbClr val="003399"/>
      </a:accent5>
      <a:accent6>
        <a:srgbClr val="E7DFBB"/>
      </a:accent6>
      <a:hlink>
        <a:srgbClr val="003399"/>
      </a:hlink>
      <a:folHlink>
        <a:srgbClr val="7030A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3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86995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1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solidFill>
          <a:srgbClr val="FF0000"/>
        </a:solidFill>
        <a:ln w="127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2_blank 1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DDDDD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A1A1A1"/>
        </a:accent6>
        <a:hlink>
          <a:srgbClr val="969696"/>
        </a:hlink>
        <a:folHlink>
          <a:srgbClr val="77777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2">
        <a:dk1>
          <a:srgbClr val="000000"/>
        </a:dk1>
        <a:lt1>
          <a:srgbClr val="FFFFFF"/>
        </a:lt1>
        <a:dk2>
          <a:srgbClr val="000000"/>
        </a:dk2>
        <a:lt2>
          <a:srgbClr val="E7DFBB"/>
        </a:lt2>
        <a:accent1>
          <a:srgbClr val="98B0A4"/>
        </a:accent1>
        <a:accent2>
          <a:srgbClr val="D8AF4A"/>
        </a:accent2>
        <a:accent3>
          <a:srgbClr val="FFFFFF"/>
        </a:accent3>
        <a:accent4>
          <a:srgbClr val="000000"/>
        </a:accent4>
        <a:accent5>
          <a:srgbClr val="CAD4CF"/>
        </a:accent5>
        <a:accent6>
          <a:srgbClr val="C49E42"/>
        </a:accent6>
        <a:hlink>
          <a:srgbClr val="9EA8C6"/>
        </a:hlink>
        <a:folHlink>
          <a:srgbClr val="4E78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PO&amp;Co" id="{1988D4F3-A50A-4C4E-9665-930FB8AFA703}" vid="{3401B0EC-A3BD-4D17-B39C-31B680FA564F}"/>
    </a:ext>
  </a:extLst>
</a:theme>
</file>

<file path=ppt/theme/theme2.xml><?xml version="1.0" encoding="utf-8"?>
<a:theme xmlns:a="http://schemas.openxmlformats.org/drawingml/2006/main" name="1_Blank">
  <a:themeElements>
    <a:clrScheme name="Custom 3">
      <a:dk1>
        <a:srgbClr val="000000"/>
      </a:dk1>
      <a:lt1>
        <a:srgbClr val="FFFFFF"/>
      </a:lt1>
      <a:dk2>
        <a:srgbClr val="000000"/>
      </a:dk2>
      <a:lt2>
        <a:srgbClr val="E7DFBB"/>
      </a:lt2>
      <a:accent1>
        <a:srgbClr val="98B0A4"/>
      </a:accent1>
      <a:accent2>
        <a:srgbClr val="D8AF4A"/>
      </a:accent2>
      <a:accent3>
        <a:srgbClr val="9EA8C6"/>
      </a:accent3>
      <a:accent4>
        <a:srgbClr val="4E786C"/>
      </a:accent4>
      <a:accent5>
        <a:srgbClr val="003399"/>
      </a:accent5>
      <a:accent6>
        <a:srgbClr val="E7DFBB"/>
      </a:accent6>
      <a:hlink>
        <a:srgbClr val="003399"/>
      </a:hlink>
      <a:folHlink>
        <a:srgbClr val="7030A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FMM Master">
  <a:themeElements>
    <a:clrScheme name="Custom 3">
      <a:dk1>
        <a:srgbClr val="000000"/>
      </a:dk1>
      <a:lt1>
        <a:srgbClr val="FFFFFF"/>
      </a:lt1>
      <a:dk2>
        <a:srgbClr val="000000"/>
      </a:dk2>
      <a:lt2>
        <a:srgbClr val="E7DFBB"/>
      </a:lt2>
      <a:accent1>
        <a:srgbClr val="98B0A4"/>
      </a:accent1>
      <a:accent2>
        <a:srgbClr val="D8AF4A"/>
      </a:accent2>
      <a:accent3>
        <a:srgbClr val="9EA8C6"/>
      </a:accent3>
      <a:accent4>
        <a:srgbClr val="4E786C"/>
      </a:accent4>
      <a:accent5>
        <a:srgbClr val="003399"/>
      </a:accent5>
      <a:accent6>
        <a:srgbClr val="E7DFBB"/>
      </a:accent6>
      <a:hlink>
        <a:srgbClr val="003399"/>
      </a:hlink>
      <a:folHlink>
        <a:srgbClr val="7030A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3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86995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1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solidFill>
          <a:srgbClr val="FF0000"/>
        </a:solidFill>
        <a:ln w="127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2_blank 1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DDDDD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A1A1A1"/>
        </a:accent6>
        <a:hlink>
          <a:srgbClr val="969696"/>
        </a:hlink>
        <a:folHlink>
          <a:srgbClr val="77777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2">
        <a:dk1>
          <a:srgbClr val="000000"/>
        </a:dk1>
        <a:lt1>
          <a:srgbClr val="FFFFFF"/>
        </a:lt1>
        <a:dk2>
          <a:srgbClr val="000000"/>
        </a:dk2>
        <a:lt2>
          <a:srgbClr val="E7DFBB"/>
        </a:lt2>
        <a:accent1>
          <a:srgbClr val="98B0A4"/>
        </a:accent1>
        <a:accent2>
          <a:srgbClr val="D8AF4A"/>
        </a:accent2>
        <a:accent3>
          <a:srgbClr val="FFFFFF"/>
        </a:accent3>
        <a:accent4>
          <a:srgbClr val="000000"/>
        </a:accent4>
        <a:accent5>
          <a:srgbClr val="CAD4CF"/>
        </a:accent5>
        <a:accent6>
          <a:srgbClr val="C49E42"/>
        </a:accent6>
        <a:hlink>
          <a:srgbClr val="9EA8C6"/>
        </a:hlink>
        <a:folHlink>
          <a:srgbClr val="4E78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PO&amp;Co" id="{1988D4F3-A50A-4C4E-9665-930FB8AFA703}" vid="{3401B0EC-A3BD-4D17-B39C-31B680FA564F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00180f4-db5d-41cb-86de-ef1c91ceb134" xsi:nil="true"/>
    <lcf76f155ced4ddcb4097134ff3c332f xmlns="081318dc-8ff6-460b-8459-e52a7c2954da">
      <Terms xmlns="http://schemas.microsoft.com/office/infopath/2007/PartnerControls"/>
    </lcf76f155ced4ddcb4097134ff3c332f>
    <Nameof xmlns="081318dc-8ff6-460b-8459-e52a7c2954da">
      <UserInfo>
        <DisplayName/>
        <AccountId xsi:nil="true"/>
        <AccountType/>
      </UserInfo>
    </Nameof>
    <check xmlns="081318dc-8ff6-460b-8459-e52a7c2954da">false</check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7DD27F2854FA478CE0A9CAD5F03EED" ma:contentTypeVersion="20" ma:contentTypeDescription="Create a new document." ma:contentTypeScope="" ma:versionID="455cb3b6098ca28fa4331d2490a5bd1d">
  <xsd:schema xmlns:xsd="http://www.w3.org/2001/XMLSchema" xmlns:xs="http://www.w3.org/2001/XMLSchema" xmlns:p="http://schemas.microsoft.com/office/2006/metadata/properties" xmlns:ns2="081318dc-8ff6-460b-8459-e52a7c2954da" xmlns:ns3="e00180f4-db5d-41cb-86de-ef1c91ceb134" targetNamespace="http://schemas.microsoft.com/office/2006/metadata/properties" ma:root="true" ma:fieldsID="1285466fb79841d634d9a55bbf71ea07" ns2:_="" ns3:_="">
    <xsd:import namespace="081318dc-8ff6-460b-8459-e52a7c2954da"/>
    <xsd:import namespace="e00180f4-db5d-41cb-86de-ef1c91ceb1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Nameof" minOccurs="0"/>
                <xsd:element ref="ns2:MediaServiceObjectDetectorVersions" minOccurs="0"/>
                <xsd:element ref="ns2:check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1318dc-8ff6-460b-8459-e52a7c2954d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2" nillable="true" ma:displayName="Length (seconds)" ma:internalName="MediaLengthInSeconds" ma:readOnly="true">
      <xsd:simpleType>
        <xsd:restriction base="dms:Unknown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fa90a2d4-3b5f-4ac6-a735-0216ba08f45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Nameof" ma:index="24" nillable="true" ma:displayName="Nameof" ma:format="Dropdown" ma:list="UserInfo" ma:SharePointGroup="0" ma:internalName="Nameof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check" ma:index="26" nillable="true" ma:displayName="check" ma:default="0" ma:format="Dropdown" ma:internalName="check">
      <xsd:simpleType>
        <xsd:restriction base="dms:Boolean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0180f4-db5d-41cb-86de-ef1c91ceb134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a797aca3-fc93-4b5e-8bc0-6662cb96ef4e}" ma:internalName="TaxCatchAll" ma:showField="CatchAllData" ma:web="e00180f4-db5d-41cb-86de-ef1c91ceb13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2583E65-69AB-452B-8447-5687E029DC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BC53904-A036-4A8E-BCCD-8CD512B6BD07}">
  <ds:schemaRefs>
    <ds:schemaRef ds:uri="081318dc-8ff6-460b-8459-e52a7c2954da"/>
    <ds:schemaRef ds:uri="e00180f4-db5d-41cb-86de-ef1c91ceb13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0787C35-A078-47A0-966A-435CA814C121}">
  <ds:schemaRefs>
    <ds:schemaRef ds:uri="081318dc-8ff6-460b-8459-e52a7c2954da"/>
    <ds:schemaRef ds:uri="e00180f4-db5d-41cb-86de-ef1c91ceb13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5</TotalTime>
  <Words>759</Words>
  <Application>Microsoft Office PowerPoint</Application>
  <PresentationFormat>Custom</PresentationFormat>
  <Paragraphs>216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1" baseType="lpstr">
      <vt:lpstr>Arial</vt:lpstr>
      <vt:lpstr>Calibri</vt:lpstr>
      <vt:lpstr>Montserrat</vt:lpstr>
      <vt:lpstr>Noto Sans Symbols</vt:lpstr>
      <vt:lpstr>Source Sans Pro Light</vt:lpstr>
      <vt:lpstr>Times New Roman</vt:lpstr>
      <vt:lpstr>Wingdings</vt:lpstr>
      <vt:lpstr>FMM Master</vt:lpstr>
      <vt:lpstr>1_Blank</vt:lpstr>
      <vt:lpstr>1_FMM Master</vt:lpstr>
      <vt:lpstr>think-cell Slide</vt:lpstr>
      <vt:lpstr>PowerPoint Presentation</vt:lpstr>
      <vt:lpstr>PowerPoint Presentation</vt:lpstr>
      <vt:lpstr>  </vt:lpstr>
      <vt:lpstr>Enterprise Summary</vt:lpstr>
      <vt:lpstr>Focused Markets and Certifications</vt:lpstr>
      <vt:lpstr>PowerPoint Presentation</vt:lpstr>
      <vt:lpstr>Key Planned Initiatives: (List 1/2)</vt:lpstr>
      <vt:lpstr>Key Planned Initiatives: (List 2/2)</vt:lpstr>
      <vt:lpstr>The Vision: Customer-Centric Growth, Expanding Our National Reach 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briela Clara</dc:creator>
  <cp:lastModifiedBy>Thomas Reynolds</cp:lastModifiedBy>
  <cp:revision>5</cp:revision>
  <cp:lastPrinted>2024-10-21T13:19:31Z</cp:lastPrinted>
  <dcterms:created xsi:type="dcterms:W3CDTF">2022-03-09T02:01:11Z</dcterms:created>
  <dcterms:modified xsi:type="dcterms:W3CDTF">2026-03-16T13:20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7DD27F2854FA478CE0A9CAD5F03EED</vt:lpwstr>
  </property>
  <property fmtid="{D5CDD505-2E9C-101B-9397-08002B2CF9AE}" pid="3" name="MediaServiceImageTags">
    <vt:lpwstr/>
  </property>
</Properties>
</file>